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media/image4.bin" ContentType="image/unknown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8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9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0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1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74" r:id="rId2"/>
    <p:sldMasterId id="2147483687" r:id="rId3"/>
    <p:sldMasterId id="2147483710" r:id="rId4"/>
    <p:sldMasterId id="2147483725" r:id="rId5"/>
    <p:sldMasterId id="2147483740" r:id="rId6"/>
    <p:sldMasterId id="2147483753" r:id="rId7"/>
    <p:sldMasterId id="2147483777" r:id="rId8"/>
    <p:sldMasterId id="2147483802" r:id="rId9"/>
    <p:sldMasterId id="2147483826" r:id="rId10"/>
    <p:sldMasterId id="2147483849" r:id="rId11"/>
    <p:sldMasterId id="2147483873" r:id="rId12"/>
  </p:sldMasterIdLst>
  <p:notesMasterIdLst>
    <p:notesMasterId r:id="rId64"/>
  </p:notesMasterIdLst>
  <p:sldIdLst>
    <p:sldId id="2147482742" r:id="rId13"/>
    <p:sldId id="2147482629" r:id="rId14"/>
    <p:sldId id="2147482632" r:id="rId15"/>
    <p:sldId id="2147482728" r:id="rId16"/>
    <p:sldId id="2147482697" r:id="rId17"/>
    <p:sldId id="2147482706" r:id="rId18"/>
    <p:sldId id="2147482473" r:id="rId19"/>
    <p:sldId id="2147482729" r:id="rId20"/>
    <p:sldId id="2134806831" r:id="rId21"/>
    <p:sldId id="2147482718" r:id="rId22"/>
    <p:sldId id="2134807274" r:id="rId23"/>
    <p:sldId id="2147482719" r:id="rId24"/>
    <p:sldId id="2147482743" r:id="rId25"/>
    <p:sldId id="2147482744" r:id="rId26"/>
    <p:sldId id="2147482720" r:id="rId27"/>
    <p:sldId id="2147482705" r:id="rId28"/>
    <p:sldId id="2147482702" r:id="rId29"/>
    <p:sldId id="2147482480" r:id="rId30"/>
    <p:sldId id="2147482481" r:id="rId31"/>
    <p:sldId id="2147482482" r:id="rId32"/>
    <p:sldId id="2147482483" r:id="rId33"/>
    <p:sldId id="2147482484" r:id="rId34"/>
    <p:sldId id="2147482485" r:id="rId35"/>
    <p:sldId id="2147482486" r:id="rId36"/>
    <p:sldId id="2147482487" r:id="rId37"/>
    <p:sldId id="2147482489" r:id="rId38"/>
    <p:sldId id="2147482730" r:id="rId39"/>
    <p:sldId id="2147482490" r:id="rId40"/>
    <p:sldId id="2147482731" r:id="rId41"/>
    <p:sldId id="2147482745" r:id="rId42"/>
    <p:sldId id="2147482492" r:id="rId43"/>
    <p:sldId id="2147482732" r:id="rId44"/>
    <p:sldId id="2147482734" r:id="rId45"/>
    <p:sldId id="2147482733" r:id="rId46"/>
    <p:sldId id="2147482735" r:id="rId47"/>
    <p:sldId id="2147482493" r:id="rId48"/>
    <p:sldId id="2147482717" r:id="rId49"/>
    <p:sldId id="2147482476" r:id="rId50"/>
    <p:sldId id="2147482495" r:id="rId51"/>
    <p:sldId id="2147482496" r:id="rId52"/>
    <p:sldId id="2147482497" r:id="rId53"/>
    <p:sldId id="2147482498" r:id="rId54"/>
    <p:sldId id="2147482499" r:id="rId55"/>
    <p:sldId id="2147482500" r:id="rId56"/>
    <p:sldId id="2147482501" r:id="rId57"/>
    <p:sldId id="2147482502" r:id="rId58"/>
    <p:sldId id="2147482505" r:id="rId59"/>
    <p:sldId id="2147482722" r:id="rId60"/>
    <p:sldId id="2147482726" r:id="rId61"/>
    <p:sldId id="2147482628" r:id="rId62"/>
    <p:sldId id="2147482634" r:id="rId63"/>
  </p:sldIdLst>
  <p:sldSz cx="9144000" cy="6858000" type="screen4x3"/>
  <p:notesSz cx="6858000" cy="9144000"/>
  <p:embeddedFontLst>
    <p:embeddedFont>
      <p:font typeface="Dosis" pitchFamily="2" charset="0"/>
      <p:regular r:id="rId65"/>
      <p:bold r:id="rId66"/>
    </p:embeddedFont>
    <p:embeddedFont>
      <p:font typeface="Dosis ExtraBold" pitchFamily="2" charset="0"/>
      <p:bold r:id="rId67"/>
    </p:embeddedFont>
    <p:embeddedFont>
      <p:font typeface="Dosis Medium" pitchFamily="2" charset="0"/>
      <p:regular r:id="rId68"/>
    </p:embeddedFont>
    <p:embeddedFont>
      <p:font typeface="Dosis SemiBold" pitchFamily="2" charset="0"/>
      <p:bold r:id="rId69"/>
    </p:embeddedFont>
    <p:embeddedFont>
      <p:font typeface="Microsoft Uighur" panose="02000000000000000000" pitchFamily="2" charset="-78"/>
      <p:regular r:id="rId70"/>
      <p:bold r:id="rId71"/>
    </p:embeddedFont>
    <p:embeddedFont>
      <p:font typeface="Modern Love" panose="04090805081005020601" pitchFamily="82" charset="0"/>
      <p:regular r:id="rId72"/>
    </p:embeddedFont>
    <p:embeddedFont>
      <p:font typeface="Sakkal Majalla" panose="02000000000000000000" pitchFamily="2" charset="-78"/>
      <p:regular r:id="rId73"/>
      <p:bold r:id="rId74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D7C"/>
    <a:srgbClr val="1E3F48"/>
    <a:srgbClr val="106585"/>
    <a:srgbClr val="0097B2"/>
    <a:srgbClr val="00729A"/>
    <a:srgbClr val="70B1B6"/>
    <a:srgbClr val="7FB9BE"/>
    <a:srgbClr val="D6E9EA"/>
    <a:srgbClr val="C3D21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5" d="100"/>
          <a:sy n="75" d="100"/>
        </p:scale>
        <p:origin x="1048" y="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font" Target="fonts/font4.fntdata"/><Relationship Id="rId16" Type="http://schemas.openxmlformats.org/officeDocument/2006/relationships/slide" Target="slides/slide4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font" Target="fonts/font2.fntdata"/><Relationship Id="rId74" Type="http://schemas.openxmlformats.org/officeDocument/2006/relationships/font" Target="fonts/font10.fntdata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9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5.fntdata"/><Relationship Id="rId77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font" Target="fonts/font8.fntdata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font" Target="fonts/font3.fntdata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font" Target="fonts/font6.fntdata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font" Target="fonts/font1.fntdata"/><Relationship Id="rId73" Type="http://schemas.openxmlformats.org/officeDocument/2006/relationships/font" Target="fonts/font9.fntdata"/><Relationship Id="rId78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71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DCA217-871D-4D7F-8D59-C83A4C9C5EB2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23364E-F43C-462A-A32F-C389FF427F4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6917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8.png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20.png"/><Relationship Id="rId9" Type="http://schemas.microsoft.com/office/2007/relationships/hdphoto" Target="../media/hdphoto4.wdp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7.pn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png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20.png"/><Relationship Id="rId9" Type="http://schemas.microsoft.com/office/2007/relationships/hdphoto" Target="../media/hdphoto4.wdp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5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5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1.png"/><Relationship Id="rId5" Type="http://schemas.microsoft.com/office/2007/relationships/hdphoto" Target="../media/hdphoto3.wdp"/><Relationship Id="rId4" Type="http://schemas.openxmlformats.org/officeDocument/2006/relationships/image" Target="../media/image10.png"/><Relationship Id="rId9" Type="http://schemas.microsoft.com/office/2007/relationships/hdphoto" Target="../media/hdphoto2.wdp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2772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06442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94770224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07351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61394817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 algn="r" rtl="1"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67072785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56037698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1C52B976-EFAE-42E7-29AC-478BA2E1BD5D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1692000" y="1693586"/>
            <a:ext cx="5760000" cy="324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6985428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Espace réservé du texte 29">
            <a:extLst>
              <a:ext uri="{FF2B5EF4-FFF2-40B4-BE49-F238E27FC236}">
                <a16:creationId xmlns:a16="http://schemas.microsoft.com/office/drawing/2014/main" id="{875F7547-AE65-F045-895D-8058BAE96B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1647" y="2348166"/>
            <a:ext cx="5600701" cy="2676585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F750240-B25D-E826-2FC6-DD63E86DFD1C}"/>
              </a:ext>
            </a:extLst>
          </p:cNvPr>
          <p:cNvSpPr/>
          <p:nvPr userDrawn="1"/>
        </p:nvSpPr>
        <p:spPr>
          <a:xfrm>
            <a:off x="1006250" y="2348166"/>
            <a:ext cx="7131497" cy="2693854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91985752"/>
      </p:ext>
    </p:extLst>
  </p:cSld>
  <p:clrMapOvr>
    <a:masterClrMapping/>
  </p:clrMapOvr>
  <p:transition spd="slow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648289"/>
            <a:ext cx="2234716" cy="360000"/>
          </a:xfrm>
          <a:prstGeom prst="rect">
            <a:avLst/>
          </a:prstGeom>
        </p:spPr>
      </p:pic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</p:spTree>
    <p:extLst>
      <p:ext uri="{BB962C8B-B14F-4D97-AF65-F5344CB8AC3E}">
        <p14:creationId xmlns:p14="http://schemas.microsoft.com/office/powerpoint/2010/main" val="1116815460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ــــــــــــــــراءة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</p:spTree>
    <p:extLst>
      <p:ext uri="{BB962C8B-B14F-4D97-AF65-F5344CB8AC3E}">
        <p14:creationId xmlns:p14="http://schemas.microsoft.com/office/powerpoint/2010/main" val="1615220788"/>
      </p:ext>
    </p:extLst>
  </p:cSld>
  <p:clrMapOvr>
    <a:masterClrMapping/>
  </p:clrMapOvr>
  <p:transition spd="slow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ــــــــــــــــراءة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صرف وتحويل </a:t>
            </a:r>
          </a:p>
        </p:txBody>
      </p:sp>
    </p:spTree>
    <p:extLst>
      <p:ext uri="{BB962C8B-B14F-4D97-AF65-F5344CB8AC3E}">
        <p14:creationId xmlns:p14="http://schemas.microsoft.com/office/powerpoint/2010/main" val="246283961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03137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إملاء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إنتاج كتابي </a:t>
            </a:r>
          </a:p>
        </p:txBody>
      </p:sp>
    </p:spTree>
    <p:extLst>
      <p:ext uri="{BB962C8B-B14F-4D97-AF65-F5344CB8AC3E}">
        <p14:creationId xmlns:p14="http://schemas.microsoft.com/office/powerpoint/2010/main" val="930234534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96702" y="2198203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136199" y="2252203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6489" y="2198203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482" y="1962614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720126" y="1962614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96702" y="3884122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136199" y="3938122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66489" y="3884122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482" y="3648533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613482" y="3648533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  </a:t>
            </a:r>
          </a:p>
        </p:txBody>
      </p:sp>
    </p:spTree>
    <p:extLst>
      <p:ext uri="{BB962C8B-B14F-4D97-AF65-F5344CB8AC3E}">
        <p14:creationId xmlns:p14="http://schemas.microsoft.com/office/powerpoint/2010/main" val="2161818467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1006252" y="1523878"/>
            <a:ext cx="7131497" cy="900000"/>
          </a:xfrm>
          <a:prstGeom prst="roundRect">
            <a:avLst>
              <a:gd name="adj" fmla="val 50000"/>
            </a:avLst>
          </a:prstGeom>
          <a:solidFill>
            <a:srgbClr val="B5EEF2"/>
          </a:solidFill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345749" y="157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76039" y="152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128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128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1006252" y="285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345749" y="290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76039" y="285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261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261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1006252" y="418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345749" y="423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76039" y="418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394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394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  <p:sp>
        <p:nvSpPr>
          <p:cNvPr id="87" name="Rectangle : coins arrondis 86">
            <a:extLst>
              <a:ext uri="{FF2B5EF4-FFF2-40B4-BE49-F238E27FC236}">
                <a16:creationId xmlns:a16="http://schemas.microsoft.com/office/drawing/2014/main" id="{13ADE3E3-FEE4-7D18-5E4F-161698C8298E}"/>
              </a:ext>
            </a:extLst>
          </p:cNvPr>
          <p:cNvSpPr/>
          <p:nvPr userDrawn="1"/>
        </p:nvSpPr>
        <p:spPr>
          <a:xfrm>
            <a:off x="1006252" y="5513101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8" name="Espace réservé pour une image  52">
            <a:extLst>
              <a:ext uri="{FF2B5EF4-FFF2-40B4-BE49-F238E27FC236}">
                <a16:creationId xmlns:a16="http://schemas.microsoft.com/office/drawing/2014/main" id="{5002C4B3-577C-EDF2-EEF3-BB3F299EEF1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7345749" y="5567101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9" name="Espace réservé du texte 29">
            <a:extLst>
              <a:ext uri="{FF2B5EF4-FFF2-40B4-BE49-F238E27FC236}">
                <a16:creationId xmlns:a16="http://schemas.microsoft.com/office/drawing/2014/main" id="{84AB51F3-94E9-C64F-E0A7-077D111234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76039" y="5513101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90" name="Image 8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0BB64257-1A94-AB80-9832-CB0DF63AC8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5277512"/>
            <a:ext cx="2234716" cy="360000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AB053F21-2486-E623-00E1-630B455CA52D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5277512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4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/ كتابة</a:t>
            </a: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id="{142297B5-6FBA-BC26-6A95-65899F08D5CE}"/>
              </a:ext>
            </a:extLst>
          </p:cNvPr>
          <p:cNvSpPr txBox="1"/>
          <p:nvPr userDrawn="1"/>
        </p:nvSpPr>
        <p:spPr>
          <a:xfrm>
            <a:off x="2286000" y="3273186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/ كتابة</a:t>
            </a:r>
          </a:p>
        </p:txBody>
      </p:sp>
    </p:spTree>
    <p:extLst>
      <p:ext uri="{BB962C8B-B14F-4D97-AF65-F5344CB8AC3E}">
        <p14:creationId xmlns:p14="http://schemas.microsoft.com/office/powerpoint/2010/main" val="1205467028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499220" y="1489630"/>
            <a:ext cx="3780000" cy="198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19610" y="1345630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4079344"/>
            <a:ext cx="3780000" cy="180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935344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690960" y="1484528"/>
            <a:ext cx="3780000" cy="198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31610" y="1340528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4074242"/>
            <a:ext cx="3780000" cy="180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930242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3761567-A86E-8135-81C0-CED87D942C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9220" y="1494244"/>
            <a:ext cx="3780000" cy="198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39EA05E9-C0CF-B205-9E7E-8B816F7B20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4079344"/>
            <a:ext cx="3780000" cy="18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17782BBF-59ED-E546-3B38-B34A7198A4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4074242"/>
            <a:ext cx="3780000" cy="18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F31F0DA6-235C-D84C-A077-7A122B020A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933764"/>
            <a:ext cx="3780000" cy="198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4" name="Espace réservé pour une image  33">
            <a:extLst>
              <a:ext uri="{FF2B5EF4-FFF2-40B4-BE49-F238E27FC236}">
                <a16:creationId xmlns:a16="http://schemas.microsoft.com/office/drawing/2014/main" id="{E9E8A424-C49F-EA75-7E06-53BC7826807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43772" y="910326"/>
            <a:ext cx="720000" cy="720000"/>
          </a:xfrm>
          <a:prstGeom prst="ellipse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0415471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1502283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6838" y="150738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3322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452517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543610" y="1488634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45330" y="3250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8419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130" y="144164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6998287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811366" y="321394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1366" y="323604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808698"/>
      </p:ext>
    </p:extLst>
  </p:cSld>
  <p:clrMapOvr>
    <a:masterClrMapping/>
  </p:clrMapOvr>
  <p:transition spd="slow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C2ADEA47-53F7-0AF0-3372-8233D45817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70990D1D-7C73-EE33-8D5B-6391F064BC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17C0A59E-DC27-E4F2-BC37-CE6B27DC4D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E9D0546D-8442-4A6F-F0D1-77FAF613F2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CB811CDB-4C95-517D-D592-BCC10856CA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896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F179832-ADCB-6435-7E3C-B36F156DA0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896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62576040"/>
      </p:ext>
    </p:extLst>
  </p:cSld>
  <p:clrMapOvr>
    <a:masterClrMapping/>
  </p:clrMapOvr>
  <p:transition spd="slow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543610" y="3225868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5350" y="326320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610" y="3217599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85897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5350" y="326320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610" y="491649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5330" y="491649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319630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19339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382717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A34270BF-566C-8548-6695-5672B306B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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8F8C17C2-62D1-261B-0BE2-6F7839D218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1596194A-BC5F-19D0-0F1C-F6CFBDF3FF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3" name="Espace réservé du texte 29">
            <a:extLst>
              <a:ext uri="{FF2B5EF4-FFF2-40B4-BE49-F238E27FC236}">
                <a16:creationId xmlns:a16="http://schemas.microsoft.com/office/drawing/2014/main" id="{34C5ECAB-EDC5-9A06-999D-04F572C33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535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4" name="Espace réservé du texte 29">
            <a:extLst>
              <a:ext uri="{FF2B5EF4-FFF2-40B4-BE49-F238E27FC236}">
                <a16:creationId xmlns:a16="http://schemas.microsoft.com/office/drawing/2014/main" id="{99EB5DB0-28F2-A2FD-2E29-86534A50C8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5" name="Espace réservé du texte 29">
            <a:extLst>
              <a:ext uri="{FF2B5EF4-FFF2-40B4-BE49-F238E27FC236}">
                <a16:creationId xmlns:a16="http://schemas.microsoft.com/office/drawing/2014/main" id="{0B82F83A-7D6E-997A-6DFD-98486DA5B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78007227"/>
      </p:ext>
    </p:extLst>
  </p:cSld>
  <p:clrMapOvr>
    <a:masterClrMapping/>
  </p:clrMapOvr>
  <p:transition spd="slow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B3E04AEF-3D7B-CC0B-3E3B-A996165D64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28580070-8848-A3B0-7630-F76B09ACF7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C4EAC4BD-29C1-3422-DCEA-C45FE014E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74D66651-4E8C-0C81-2EBA-9F6CD1A3F6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535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8126728D-C7ED-6A6E-E6ED-BBFAD53EF9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28E6E001-28B8-A0DE-47D1-643F130017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9595563"/>
      </p:ext>
    </p:extLst>
  </p:cSld>
  <p:clrMapOvr>
    <a:masterClrMapping/>
  </p:clrMapOvr>
  <p:transition spd="slow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C7615D05-760F-5459-4F8E-1CF5EDB8AF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78400896-B348-E5C1-B9FC-5CB0523109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D53A59A5-B33B-614B-D743-FB8C0BB852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153E3310-842C-57DB-DE50-3B4B74672F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E431787E-F15B-5728-2A25-45776ECDE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896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D5CE94EE-E532-793C-25E0-3E866F0519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896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28582477"/>
      </p:ext>
    </p:extLst>
  </p:cSld>
  <p:clrMapOvr>
    <a:masterClrMapping/>
  </p:clrMapOvr>
  <p:transition spd="slow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92700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2391296"/>
      </p:ext>
    </p:extLst>
  </p:cSld>
  <p:clrMapOvr>
    <a:masterClrMapping/>
  </p:clrMapOvr>
  <p:transition spd="slow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-  02 </a:t>
            </a:r>
            <a:r>
              <a:rPr lang="a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  <a:endParaRPr lang="fr-MA" dirty="0"/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E757B3EF-85ED-79B4-F526-70739A899F2A}"/>
              </a:ext>
            </a:extLst>
          </p:cNvPr>
          <p:cNvSpPr/>
          <p:nvPr userDrawn="1"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fr-FR" dirty="0">
              <a:solidFill>
                <a:srgbClr val="CAF2F4"/>
              </a:solidFill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E002657C-3C1F-4D99-A0E2-77679A65AE23}"/>
              </a:ext>
            </a:extLst>
          </p:cNvPr>
          <p:cNvSpPr/>
          <p:nvPr userDrawn="1"/>
        </p:nvSpPr>
        <p:spPr>
          <a:xfrm>
            <a:off x="628650" y="2955833"/>
            <a:ext cx="7886699" cy="2197281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4A1D94F-62B1-C6D0-7E0F-52D1F997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4368" r="-4368"/>
          <a:stretch>
            <a:fillRect/>
          </a:stretch>
        </p:blipFill>
        <p:spPr>
          <a:xfrm>
            <a:off x="7566858" y="2871353"/>
            <a:ext cx="972000" cy="900000"/>
          </a:xfrm>
          <a:prstGeom prst="rect">
            <a:avLst/>
          </a:prstGeom>
        </p:spPr>
      </p:pic>
      <p:pic>
        <p:nvPicPr>
          <p:cNvPr id="9" name="Espace réservé pour une image  20">
            <a:extLst>
              <a:ext uri="{FF2B5EF4-FFF2-40B4-BE49-F238E27FC236}">
                <a16:creationId xmlns:a16="http://schemas.microsoft.com/office/drawing/2014/main" id="{44DC88C6-5707-86F7-D833-5641FA28E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26" r="-7526"/>
          <a:stretch>
            <a:fillRect/>
          </a:stretch>
        </p:blipFill>
        <p:spPr>
          <a:xfrm>
            <a:off x="410748" y="3027833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0178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e 32">
            <a:extLst>
              <a:ext uri="{FF2B5EF4-FFF2-40B4-BE49-F238E27FC236}">
                <a16:creationId xmlns:a16="http://schemas.microsoft.com/office/drawing/2014/main" id="{DEE5DF2A-A2C5-9DDC-2526-F329CE533D62}"/>
              </a:ext>
            </a:extLst>
          </p:cNvPr>
          <p:cNvGrpSpPr/>
          <p:nvPr userDrawn="1"/>
        </p:nvGrpSpPr>
        <p:grpSpPr>
          <a:xfrm>
            <a:off x="1748749" y="4368679"/>
            <a:ext cx="5368645" cy="1013653"/>
            <a:chOff x="1748749" y="1791236"/>
            <a:chExt cx="5368645" cy="1013653"/>
          </a:xfrm>
        </p:grpSpPr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F869710-FE9A-677D-2DED-7221C5922D8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5" name="Rectangle : coins arrondis 34">
              <a:extLst>
                <a:ext uri="{FF2B5EF4-FFF2-40B4-BE49-F238E27FC236}">
                  <a16:creationId xmlns:a16="http://schemas.microsoft.com/office/drawing/2014/main" id="{77F6BDE5-2CD1-90CD-2054-C65021FC3B1E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64F060CB-5859-7A1C-1945-399BF4432E18}"/>
              </a:ext>
            </a:extLst>
          </p:cNvPr>
          <p:cNvGrpSpPr/>
          <p:nvPr userDrawn="1"/>
        </p:nvGrpSpPr>
        <p:grpSpPr>
          <a:xfrm>
            <a:off x="1748749" y="3100374"/>
            <a:ext cx="5368645" cy="1013653"/>
            <a:chOff x="1748749" y="1791236"/>
            <a:chExt cx="5368645" cy="1013653"/>
          </a:xfrm>
        </p:grpSpPr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6C7D7D1B-54A2-EE56-FF38-BA1C4D631D96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EBF7EB9F-D0CB-C146-C0DF-1FEA97915CD3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5A53ADCC-F9EE-1544-60CF-B13B748987BA}"/>
              </a:ext>
            </a:extLst>
          </p:cNvPr>
          <p:cNvGrpSpPr/>
          <p:nvPr userDrawn="1"/>
        </p:nvGrpSpPr>
        <p:grpSpPr>
          <a:xfrm>
            <a:off x="1748749" y="1791236"/>
            <a:ext cx="5368645" cy="1013653"/>
            <a:chOff x="1748749" y="1791236"/>
            <a:chExt cx="5368645" cy="1013653"/>
          </a:xfrm>
        </p:grpSpPr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C479736-F023-78FA-4D69-3C86D60DBD0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631E814A-6B8A-876F-B330-D29CBCDCBA25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انشطة اعتيادية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548330" y="3100065"/>
            <a:ext cx="8787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Extra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065827" y="4376851"/>
            <a:ext cx="13612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7ED9F1C-25D9-EA0F-66D1-D7D3BB3ACC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-13143" r="-13143"/>
          <a:stretch>
            <a:fillRect/>
          </a:stretch>
        </p:blipFill>
        <p:spPr>
          <a:xfrm>
            <a:off x="6589204" y="4424575"/>
            <a:ext cx="5364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1618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05828042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8460319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0239427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fr-FR"/>
              <a:t>Modifiez le style du titre</a:t>
            </a:r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939868554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86035602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5869547"/>
      </p:ext>
    </p:extLst>
  </p:cSld>
  <p:clrMapOvr>
    <a:masterClrMapping/>
  </p:clrMapOvr>
  <p:transition spd="slow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40076808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1055683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19528445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41290487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97273074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50719258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16396121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91354002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fr-FR"/>
              <a:t>Modifiez le style du titre</a:t>
            </a:r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462244094"/>
      </p:ext>
    </p:extLst>
  </p:cSld>
  <p:clrMapOvr>
    <a:masterClrMapping/>
  </p:clrMapOvr>
  <p:transition spd="slow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15533081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3226913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3686225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44777646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20294159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74253731"/>
      </p:ext>
    </p:extLst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54660026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15957095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63073424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878178585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040293587"/>
      </p:ext>
    </p:extLst>
  </p:cSld>
  <p:clrMapOvr>
    <a:masterClrMapping/>
  </p:clrMapOvr>
  <p:transition spd="slow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5904787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26923716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2820218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85176755"/>
      </p:ext>
    </p:extLst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8974588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17003987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5816598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2019209"/>
      </p:ext>
    </p:extLst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2170987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1315998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89980385"/>
      </p:ext>
    </p:extLst>
  </p:cSld>
  <p:clrMapOvr>
    <a:masterClrMapping/>
  </p:clrMapOvr>
  <p:transition spd="slow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57824986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69403181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46873569"/>
      </p:ext>
    </p:extLst>
  </p:cSld>
  <p:clrMapOvr>
    <a:masterClrMapping/>
  </p:clrMapOvr>
  <p:transition spd="slow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47209086"/>
      </p:ext>
    </p:extLst>
  </p:cSld>
  <p:clrMapOvr>
    <a:masterClrMapping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45467526"/>
      </p:ext>
    </p:extLst>
  </p:cSld>
  <p:clrMapOvr>
    <a:masterClrMapping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04358242"/>
      </p:ext>
    </p:extLst>
  </p:cSld>
  <p:clrMapOvr>
    <a:masterClrMapping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34458595"/>
      </p:ext>
    </p:extLst>
  </p:cSld>
  <p:clrMapOvr>
    <a:masterClrMapping/>
  </p:clrMapOvr>
  <p:transition spd="slow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28286848"/>
      </p:ext>
    </p:extLst>
  </p:cSld>
  <p:clrMapOvr>
    <a:masterClrMapping/>
  </p:clrMapOvr>
  <p:transition spd="slow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66481803"/>
      </p:ext>
    </p:extLst>
  </p:cSld>
  <p:clrMapOvr>
    <a:masterClrMapping/>
  </p:clrMapOvr>
  <p:transition spd="slow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77724341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23313547"/>
      </p:ext>
    </p:extLst>
  </p:cSld>
  <p:clrMapOvr>
    <a:masterClrMapping/>
  </p:clrMapOvr>
  <p:transition spd="slow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78734535"/>
      </p:ext>
    </p:extLst>
  </p:cSld>
  <p:clrMapOvr>
    <a:masterClrMapping/>
  </p:clrMapOvr>
  <p:transition spd="slow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4252057"/>
      </p:ext>
    </p:extLst>
  </p:cSld>
  <p:clrMapOvr>
    <a:masterClrMapping/>
  </p:clrMapOvr>
  <p:transition spd="slow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93183469"/>
      </p:ext>
    </p:extLst>
  </p:cSld>
  <p:clrMapOvr>
    <a:masterClrMapping/>
  </p:clrMapOvr>
  <p:transition spd="slow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25126178"/>
      </p:ext>
    </p:extLst>
  </p:cSld>
  <p:clrMapOvr>
    <a:masterClrMapping/>
  </p:clrMapOvr>
  <p:transition spd="slow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02425447"/>
      </p:ext>
    </p:extLst>
  </p:cSld>
  <p:clrMapOvr>
    <a:masterClrMapping/>
  </p:clrMapOvr>
  <p:transition spd="slow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65547417"/>
      </p:ext>
    </p:extLst>
  </p:cSld>
  <p:clrMapOvr>
    <a:masterClrMapping/>
  </p:clrMapOvr>
  <p:transition spd="slow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  <a:lvl2pPr algn="r" rtl="1">
              <a:defRPr>
                <a:latin typeface="Arial" panose="020B0604020202020204" pitchFamily="34" charset="0"/>
              </a:defRPr>
            </a:lvl2pPr>
            <a:lvl3pPr algn="r" rtl="1">
              <a:defRPr>
                <a:latin typeface="Arial" panose="020B0604020202020204" pitchFamily="34" charset="0"/>
              </a:defRPr>
            </a:lvl3pPr>
            <a:lvl4pPr algn="r" rtl="1">
              <a:defRPr>
                <a:latin typeface="Arial" panose="020B0604020202020204" pitchFamily="34" charset="0"/>
              </a:defRPr>
            </a:lvl4pPr>
            <a:lvl5pPr algn="r" rtl="1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69834856"/>
      </p:ext>
    </p:extLst>
  </p:cSld>
  <p:clrMapOvr>
    <a:masterClrMapping/>
  </p:clrMapOvr>
  <p:transition spd="slow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  <a:lvl2pPr algn="r" rtl="1">
              <a:defRPr>
                <a:latin typeface="Arial" panose="020B0604020202020204" pitchFamily="34" charset="0"/>
              </a:defRPr>
            </a:lvl2pPr>
            <a:lvl3pPr algn="r" rtl="1">
              <a:defRPr>
                <a:latin typeface="Arial" panose="020B0604020202020204" pitchFamily="34" charset="0"/>
              </a:defRPr>
            </a:lvl3pPr>
            <a:lvl4pPr algn="r" rtl="1">
              <a:defRPr>
                <a:latin typeface="Arial" panose="020B0604020202020204" pitchFamily="34" charset="0"/>
              </a:defRPr>
            </a:lvl4pPr>
            <a:lvl5pPr algn="r" rtl="1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29699515"/>
      </p:ext>
    </p:extLst>
  </p:cSld>
  <p:clrMapOvr>
    <a:masterClrMapping/>
  </p:clrMapOvr>
  <p:transition spd="slow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60410930"/>
      </p:ext>
    </p:extLst>
  </p:cSld>
  <p:clrMapOvr>
    <a:masterClrMapping/>
  </p:clrMapOvr>
  <p:transition spd="slow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02336489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20198654"/>
      </p:ext>
    </p:extLst>
  </p:cSld>
  <p:clrMapOvr>
    <a:masterClrMapping/>
  </p:clrMapOvr>
  <p:transition spd="slow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2647030"/>
      </p:ext>
    </p:extLst>
  </p:cSld>
  <p:clrMapOvr>
    <a:masterClrMapping/>
  </p:clrMapOvr>
  <p:transition spd="slow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45863644"/>
      </p:ext>
    </p:extLst>
  </p:cSld>
  <p:clrMapOvr>
    <a:masterClrMapping/>
  </p:clrMapOvr>
  <p:transition spd="slow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72782921"/>
      </p:ext>
    </p:extLst>
  </p:cSld>
  <p:clrMapOvr>
    <a:masterClrMapping/>
  </p:clrMapOvr>
  <p:transition spd="slow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64460874"/>
      </p:ext>
    </p:extLst>
  </p:cSld>
  <p:clrMapOvr>
    <a:masterClrMapping/>
  </p:clrMapOvr>
  <p:transition spd="slow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91133767"/>
      </p:ext>
    </p:extLst>
  </p:cSld>
  <p:clrMapOvr>
    <a:masterClrMapping/>
  </p:clrMapOvr>
  <p:transition spd="slow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40232944"/>
      </p:ext>
    </p:extLst>
  </p:cSld>
  <p:clrMapOvr>
    <a:masterClrMapping/>
  </p:clrMapOvr>
  <p:transition spd="slow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09974841"/>
      </p:ext>
    </p:extLst>
  </p:cSld>
  <p:clrMapOvr>
    <a:masterClrMapping/>
  </p:clrMapOvr>
  <p:transition spd="slow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53030145"/>
      </p:ext>
    </p:extLst>
  </p:cSld>
  <p:clrMapOvr>
    <a:masterClrMapping/>
  </p:clrMapOvr>
  <p:transition spd="slow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95058690"/>
      </p:ext>
    </p:extLst>
  </p:cSld>
  <p:clrMapOvr>
    <a:masterClrMapping/>
  </p:clrMapOvr>
  <p:transition spd="slow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50644282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69685249"/>
      </p:ext>
    </p:extLst>
  </p:cSld>
  <p:clrMapOvr>
    <a:masterClrMapping/>
  </p:clrMapOvr>
  <p:transition spd="slow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72657624"/>
      </p:ext>
    </p:extLst>
  </p:cSld>
  <p:clrMapOvr>
    <a:masterClrMapping/>
  </p:clrMapOvr>
  <p:transition spd="slow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62368079"/>
      </p:ext>
    </p:extLst>
  </p:cSld>
  <p:clrMapOvr>
    <a:masterClrMapping/>
  </p:clrMapOvr>
  <p:transition spd="slow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9101782"/>
      </p:ext>
    </p:extLst>
  </p:cSld>
  <p:clrMapOvr>
    <a:masterClrMapping/>
  </p:clrMapOvr>
  <p:transition spd="slow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90906863"/>
      </p:ext>
    </p:extLst>
  </p:cSld>
  <p:clrMapOvr>
    <a:masterClrMapping/>
  </p:clrMapOvr>
  <p:transition spd="slow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Arial" panose="020B0604020202020204" pitchFamily="34" charset="0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75814159"/>
      </p:ext>
    </p:extLst>
  </p:cSld>
  <p:clrMapOvr>
    <a:masterClrMapping/>
  </p:clrMapOvr>
  <p:transition spd="slow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590091597"/>
      </p:ext>
    </p:extLst>
  </p:cSld>
  <p:clrMapOvr>
    <a:masterClrMapping/>
  </p:clrMapOvr>
  <p:transition spd="slow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92031432"/>
      </p:ext>
    </p:extLst>
  </p:cSld>
  <p:clrMapOvr>
    <a:masterClrMapping/>
  </p:clrMapOvr>
  <p:transition spd="slow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19810947"/>
      </p:ext>
    </p:extLst>
  </p:cSld>
  <p:clrMapOvr>
    <a:masterClrMapping/>
  </p:clrMapOvr>
  <p:transition spd="slow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09433441"/>
      </p:ext>
    </p:extLst>
  </p:cSld>
  <p:clrMapOvr>
    <a:masterClrMapping/>
  </p:clrMapOvr>
  <p:transition spd="slow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74289215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9242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50822582"/>
      </p:ext>
    </p:extLst>
  </p:cSld>
  <p:clrMapOvr>
    <a:masterClrMapping/>
  </p:clrMapOvr>
  <p:transition spd="slow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60225120"/>
      </p:ext>
    </p:extLst>
  </p:cSld>
  <p:clrMapOvr>
    <a:masterClrMapping/>
  </p:clrMapOvr>
  <p:transition spd="slow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67529196"/>
      </p:ext>
    </p:extLst>
  </p:cSld>
  <p:clrMapOvr>
    <a:masterClrMapping/>
  </p:clrMapOvr>
  <p:transition spd="slow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1386982"/>
      </p:ext>
    </p:extLst>
  </p:cSld>
  <p:clrMapOvr>
    <a:masterClrMapping/>
  </p:clrMapOvr>
  <p:transition spd="slow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89383286"/>
      </p:ext>
    </p:extLst>
  </p:cSld>
  <p:clrMapOvr>
    <a:masterClrMapping/>
  </p:clrMapOvr>
  <p:transition spd="slow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8341445"/>
      </p:ext>
    </p:extLst>
  </p:cSld>
  <p:clrMapOvr>
    <a:masterClrMapping/>
  </p:clrMapOvr>
  <p:transition spd="slow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3111602"/>
      </p:ext>
    </p:extLst>
  </p:cSld>
  <p:clrMapOvr>
    <a:masterClrMapping/>
  </p:clrMapOvr>
  <p:transition spd="slow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02809442"/>
      </p:ext>
    </p:extLst>
  </p:cSld>
  <p:clrMapOvr>
    <a:masterClrMapping/>
  </p:clrMapOvr>
  <p:transition spd="slow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91577788"/>
      </p:ext>
    </p:extLst>
  </p:cSld>
  <p:clrMapOvr>
    <a:masterClrMapping/>
  </p:clrMapOvr>
  <p:transition spd="slow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36401993"/>
      </p:ext>
    </p:extLst>
  </p:cSld>
  <p:clrMapOvr>
    <a:masterClrMapping/>
  </p:clrMapOvr>
  <p:transition spd="slow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52851889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73058550"/>
      </p:ext>
    </p:extLst>
  </p:cSld>
  <p:clrMapOvr>
    <a:masterClrMapping/>
  </p:clrMapOvr>
  <p:transition spd="slow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42344919"/>
      </p:ext>
    </p:extLst>
  </p:cSld>
  <p:clrMapOvr>
    <a:masterClrMapping/>
  </p:clrMapOvr>
  <p:transition spd="slow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43829978"/>
      </p:ext>
    </p:extLst>
  </p:cSld>
  <p:clrMapOvr>
    <a:masterClrMapping/>
  </p:clrMapOvr>
  <p:transition spd="slow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42061350"/>
      </p:ext>
    </p:extLst>
  </p:cSld>
  <p:clrMapOvr>
    <a:masterClrMapping/>
  </p:clrMapOvr>
  <p:transition spd="slow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81233284"/>
      </p:ext>
    </p:extLst>
  </p:cSld>
  <p:clrMapOvr>
    <a:masterClrMapping/>
  </p:clrMapOvr>
  <p:transition spd="slow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08003823"/>
      </p:ext>
    </p:extLst>
  </p:cSld>
  <p:clrMapOvr>
    <a:masterClrMapping/>
  </p:clrMapOvr>
  <p:transition spd="slow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9939429"/>
      </p:ext>
    </p:extLst>
  </p:cSld>
  <p:clrMapOvr>
    <a:masterClrMapping/>
  </p:clrMapOvr>
  <p:transition spd="slow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19666882"/>
      </p:ext>
    </p:extLst>
  </p:cSld>
  <p:clrMapOvr>
    <a:masterClrMapping/>
  </p:clrMapOvr>
  <p:transition spd="slow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Titre et contenu lib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5901041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27807273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42815786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34093720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32655502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90570023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4709217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10243861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2542533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0687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84742381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08788375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08524379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31494421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70457697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11420184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69985882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05328524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93659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5282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12698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6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6900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13832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10798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8157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3429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83499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34239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1410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fr-FR"/>
              <a:t>Modifiez le style du titre</a:t>
            </a:r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884662387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23063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D17293F3-D23C-5B39-CA2E-065ADB373CF2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7DB622CA-75B8-1DB3-221C-F032331AEC89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2422045F-9F83-8B02-B2A6-ACEAD36DEBAC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32E9D8C1-44A4-3DD1-138E-64212CF1CAB8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7" name="Espace réservé pour une image  7">
            <a:extLst>
              <a:ext uri="{FF2B5EF4-FFF2-40B4-BE49-F238E27FC236}">
                <a16:creationId xmlns:a16="http://schemas.microsoft.com/office/drawing/2014/main" id="{CF72A1D0-19C5-FB34-3BA6-3FC3D8AD19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651CEA69-29B3-CA99-012C-DE3CBF19CF8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461FED72-4AD6-2E71-C03F-25EB1626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0F7C12C-FBB0-E4FC-D49D-AE43AB4F49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76202372-AC64-90F0-FB97-3C822FFD20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1BFAFA1A-B3A8-6BF0-D7F3-153117367B2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du texte 13">
            <a:extLst>
              <a:ext uri="{FF2B5EF4-FFF2-40B4-BE49-F238E27FC236}">
                <a16:creationId xmlns:a16="http://schemas.microsoft.com/office/drawing/2014/main" id="{D113B0C1-5BA0-6BE9-2BCD-F9F05FAD57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512AF551-AFE7-003D-FA00-8F4FBF995F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8D2F1BFB-C355-7F08-41BE-DA5865755C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38917069-6101-0DC9-93E1-900F88BE6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B2614ECD-99CF-FF11-140D-A119DFD535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D3F024BA-DAE1-588E-F0F5-B1E8B89B4B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87506743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24500562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55465031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90514064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B7A934E9-D4E5-7ECD-3F55-B99D240A27CF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972000" y="1587500"/>
            <a:ext cx="7200000" cy="432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169458980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F2A5A2-07B7-D4DA-50E5-C4F55CED7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8757AEE0-EDAD-BCFA-B0C1-E3F26DF7BDB0}"/>
              </a:ext>
            </a:extLst>
          </p:cNvPr>
          <p:cNvGrpSpPr/>
          <p:nvPr userDrawn="1"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F1E9647-C23F-0AB7-101C-32D0969E9F60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4" name="Organigramme : Terminateur 3">
              <a:extLst>
                <a:ext uri="{FF2B5EF4-FFF2-40B4-BE49-F238E27FC236}">
                  <a16:creationId xmlns:a16="http://schemas.microsoft.com/office/drawing/2014/main" id="{DD7159A8-5CAC-1F2F-AA5A-44097860B98F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DD42F6F4-087E-E434-BA2D-3E6C35CBE2D3}"/>
              </a:ext>
            </a:extLst>
          </p:cNvPr>
          <p:cNvGrpSpPr/>
          <p:nvPr userDrawn="1"/>
        </p:nvGrpSpPr>
        <p:grpSpPr>
          <a:xfrm flipH="1">
            <a:off x="628649" y="5023288"/>
            <a:ext cx="3780000" cy="1332000"/>
            <a:chOff x="628649" y="5023288"/>
            <a:chExt cx="3780000" cy="1332000"/>
          </a:xfrm>
        </p:grpSpPr>
        <p:sp>
          <p:nvSpPr>
            <p:cNvPr id="5" name="Rectangle : coins arrondis 4">
              <a:extLst>
                <a:ext uri="{FF2B5EF4-FFF2-40B4-BE49-F238E27FC236}">
                  <a16:creationId xmlns:a16="http://schemas.microsoft.com/office/drawing/2014/main" id="{C29B8546-2300-CF26-DE2E-38073503AB14}"/>
                </a:ext>
              </a:extLst>
            </p:cNvPr>
            <p:cNvSpPr/>
            <p:nvPr userDrawn="1"/>
          </p:nvSpPr>
          <p:spPr>
            <a:xfrm>
              <a:off x="628649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6" name="Organigramme : Terminateur 5">
              <a:extLst>
                <a:ext uri="{FF2B5EF4-FFF2-40B4-BE49-F238E27FC236}">
                  <a16:creationId xmlns:a16="http://schemas.microsoft.com/office/drawing/2014/main" id="{9F63B16B-0D64-E4B7-A02B-5B9E10FD9E1A}"/>
                </a:ext>
              </a:extLst>
            </p:cNvPr>
            <p:cNvSpPr/>
            <p:nvPr userDrawn="1"/>
          </p:nvSpPr>
          <p:spPr>
            <a:xfrm>
              <a:off x="844649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6 - </a:t>
              </a: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8F03523-197D-A46E-FA54-91A6AFF7F28C}"/>
              </a:ext>
            </a:extLst>
          </p:cNvPr>
          <p:cNvGrpSpPr/>
          <p:nvPr userDrawn="1"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076ABA10-32B5-B604-0B98-F854920B1C35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8" name="Organigramme : Terminateur 7">
              <a:extLst>
                <a:ext uri="{FF2B5EF4-FFF2-40B4-BE49-F238E27FC236}">
                  <a16:creationId xmlns:a16="http://schemas.microsoft.com/office/drawing/2014/main" id="{8D09FAA9-8B01-B85B-6AD2-AA1306C99B4F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2 - </a:t>
              </a:r>
              <a:endPara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7C6E9F6-C279-AB3D-B941-74079D24BBA4}"/>
              </a:ext>
            </a:extLst>
          </p:cNvPr>
          <p:cNvGrpSpPr/>
          <p:nvPr userDrawn="1"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43917791-49A0-A179-89BD-9B276594FD5C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0" name="Organigramme : Terminateur 9">
              <a:extLst>
                <a:ext uri="{FF2B5EF4-FFF2-40B4-BE49-F238E27FC236}">
                  <a16:creationId xmlns:a16="http://schemas.microsoft.com/office/drawing/2014/main" id="{F9D3FD68-51AA-4AAC-DA0F-FC1598DFD10B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5 -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3FC77E3-3855-7B01-0EC8-80864EDB69DD}"/>
              </a:ext>
            </a:extLst>
          </p:cNvPr>
          <p:cNvGrpSpPr/>
          <p:nvPr userDrawn="1"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CC537851-8C6F-4D1B-3353-B99C763FE6F0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2" name="Organigramme : Terminateur 11">
              <a:extLst>
                <a:ext uri="{FF2B5EF4-FFF2-40B4-BE49-F238E27FC236}">
                  <a16:creationId xmlns:a16="http://schemas.microsoft.com/office/drawing/2014/main" id="{E95BC511-E9AF-223A-8E8C-7786DA7A9B1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1 - </a:t>
              </a:r>
            </a:p>
          </p:txBody>
        </p:sp>
      </p:grp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174E1EA-100E-B3C4-9105-A0B081A78EFB}"/>
              </a:ext>
            </a:extLst>
          </p:cNvPr>
          <p:cNvSpPr txBox="1">
            <a:spLocks/>
          </p:cNvSpPr>
          <p:nvPr userDrawn="1"/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defPPr>
              <a:defRPr lang="fr-FR"/>
            </a:defPPr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Révision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Lecture offerte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C5080DA-EEE4-B0DB-4320-B6333D61EC3F}"/>
              </a:ext>
            </a:extLst>
          </p:cNvPr>
          <p:cNvGrpSpPr/>
          <p:nvPr userDrawn="1"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FF956EF7-1C04-B75A-99DB-1610B0777584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20" name="Organigramme : Terminateur 19">
              <a:extLst>
                <a:ext uri="{FF2B5EF4-FFF2-40B4-BE49-F238E27FC236}">
                  <a16:creationId xmlns:a16="http://schemas.microsoft.com/office/drawing/2014/main" id="{E1429BD4-3BA4-BBFA-4BEF-AD11475F7BBB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4 - </a:t>
              </a:r>
            </a:p>
          </p:txBody>
        </p:sp>
      </p:grp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5309429C-1039-2C54-E46D-AB6F245EAE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804D03EF-3A2B-E15D-3E5B-9B72509A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37C3B835-3703-D664-EDC0-559155651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du texte 25">
            <a:extLst>
              <a:ext uri="{FF2B5EF4-FFF2-40B4-BE49-F238E27FC236}">
                <a16:creationId xmlns:a16="http://schemas.microsoft.com/office/drawing/2014/main" id="{17275B2B-E189-AEF4-7C55-C06676186A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35F22259-A426-1C6B-4A60-50940908B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611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B9583407-B6F3-0B8E-9991-D458D8A7CB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11537257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F45224-BA7F-8144-8607-A09DDE370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6039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F34C4EC-38D2-DF0E-79EE-51FD9A9B44D8}"/>
              </a:ext>
            </a:extLst>
          </p:cNvPr>
          <p:cNvSpPr/>
          <p:nvPr userDrawn="1"/>
        </p:nvSpPr>
        <p:spPr>
          <a:xfrm>
            <a:off x="612000" y="2196000"/>
            <a:ext cx="3780000" cy="1080000"/>
          </a:xfrm>
          <a:prstGeom prst="roundRect">
            <a:avLst/>
          </a:prstGeom>
          <a:solidFill>
            <a:srgbClr val="A1D6EC"/>
          </a:solidFill>
          <a:ln>
            <a:solidFill>
              <a:schemeClr val="accent5"/>
            </a:solidFill>
          </a:ln>
          <a:effectLst>
            <a:outerShdw blurRad="38100" dist="25400" dir="2700000" algn="tl" rotWithShape="0">
              <a:srgbClr val="00B0F0">
                <a:alpha val="4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38E0A981-512D-DDF2-8598-875BCCC3C132}"/>
              </a:ext>
            </a:extLst>
          </p:cNvPr>
          <p:cNvSpPr/>
          <p:nvPr userDrawn="1"/>
        </p:nvSpPr>
        <p:spPr>
          <a:xfrm>
            <a:off x="828000" y="194400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9368326-A537-80A0-9302-1EE9F91FF3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000" y="2395639"/>
            <a:ext cx="3420000" cy="792000"/>
          </a:xfrm>
          <a:prstGeom prst="roundRect">
            <a:avLst/>
          </a:prstGeom>
          <a:solidFill>
            <a:srgbClr val="E6F3FA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>
                <a:solidFill>
                  <a:srgbClr val="474F71"/>
                </a:solidFill>
                <a:latin typeface="Microsoft Uighur" panose="02000000000000000000" pitchFamily="2" charset="-78"/>
                <a:sym typeface="Wingdings" panose="05000000000000000000" pitchFamily="2" charset="2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474F71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876AB203-C4D4-63C1-C9BD-6180ADF322D9}"/>
              </a:ext>
            </a:extLst>
          </p:cNvPr>
          <p:cNvSpPr/>
          <p:nvPr userDrawn="1"/>
        </p:nvSpPr>
        <p:spPr>
          <a:xfrm>
            <a:off x="4716000" y="2196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8" name="Organigramme : Terminateur 7">
            <a:extLst>
              <a:ext uri="{FF2B5EF4-FFF2-40B4-BE49-F238E27FC236}">
                <a16:creationId xmlns:a16="http://schemas.microsoft.com/office/drawing/2014/main" id="{72211034-E5CD-05DB-42AD-0BC0C22E5903}"/>
              </a:ext>
            </a:extLst>
          </p:cNvPr>
          <p:cNvSpPr/>
          <p:nvPr userDrawn="1"/>
        </p:nvSpPr>
        <p:spPr>
          <a:xfrm>
            <a:off x="4932000" y="1944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4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3A2F45E5-0D2B-B4F1-5CD0-221F082189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96000" y="2395639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28C7C5B-D002-002E-FEE3-B7A0B6B29B84}"/>
              </a:ext>
            </a:extLst>
          </p:cNvPr>
          <p:cNvSpPr/>
          <p:nvPr userDrawn="1"/>
        </p:nvSpPr>
        <p:spPr>
          <a:xfrm>
            <a:off x="628649" y="3708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8" name="Organigramme : Terminateur 17">
            <a:extLst>
              <a:ext uri="{FF2B5EF4-FFF2-40B4-BE49-F238E27FC236}">
                <a16:creationId xmlns:a16="http://schemas.microsoft.com/office/drawing/2014/main" id="{A35578E3-0C86-555B-DF74-F22BC26A843E}"/>
              </a:ext>
            </a:extLst>
          </p:cNvPr>
          <p:cNvSpPr/>
          <p:nvPr userDrawn="1"/>
        </p:nvSpPr>
        <p:spPr>
          <a:xfrm>
            <a:off x="828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2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FE19DBD7-3323-C0FE-A7C0-054D4D6947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649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A8DBAB32-5108-FCF6-2E8F-44876E1F3A86}"/>
              </a:ext>
            </a:extLst>
          </p:cNvPr>
          <p:cNvSpPr/>
          <p:nvPr userDrawn="1"/>
        </p:nvSpPr>
        <p:spPr>
          <a:xfrm>
            <a:off x="628649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Organigramme : Terminateur 20">
            <a:extLst>
              <a:ext uri="{FF2B5EF4-FFF2-40B4-BE49-F238E27FC236}">
                <a16:creationId xmlns:a16="http://schemas.microsoft.com/office/drawing/2014/main" id="{B810E982-403C-2AEF-3862-CB8B7F890D65}"/>
              </a:ext>
            </a:extLst>
          </p:cNvPr>
          <p:cNvSpPr/>
          <p:nvPr userDrawn="1"/>
        </p:nvSpPr>
        <p:spPr>
          <a:xfrm>
            <a:off x="828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3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78E4694-7E2B-3E51-F604-26B60BCB0C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09EF5DAB-AFE5-A7BB-ECBF-E6D0E54DC52C}"/>
              </a:ext>
            </a:extLst>
          </p:cNvPr>
          <p:cNvSpPr/>
          <p:nvPr userDrawn="1"/>
        </p:nvSpPr>
        <p:spPr>
          <a:xfrm>
            <a:off x="4735350" y="3734113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4" name="Organigramme : Terminateur 23">
            <a:extLst>
              <a:ext uri="{FF2B5EF4-FFF2-40B4-BE49-F238E27FC236}">
                <a16:creationId xmlns:a16="http://schemas.microsoft.com/office/drawing/2014/main" id="{867828EE-B1E5-9F8B-0D7C-A5A846A60ACE}"/>
              </a:ext>
            </a:extLst>
          </p:cNvPr>
          <p:cNvSpPr/>
          <p:nvPr userDrawn="1"/>
        </p:nvSpPr>
        <p:spPr>
          <a:xfrm>
            <a:off x="4932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5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DD324492-66B3-DE4C-8000-A60CFAE496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15350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EF2B26AA-471C-2E08-9C98-93BB32368F48}"/>
              </a:ext>
            </a:extLst>
          </p:cNvPr>
          <p:cNvSpPr/>
          <p:nvPr userDrawn="1"/>
        </p:nvSpPr>
        <p:spPr>
          <a:xfrm>
            <a:off x="4735350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7" name="Organigramme : Terminateur 26">
            <a:extLst>
              <a:ext uri="{FF2B5EF4-FFF2-40B4-BE49-F238E27FC236}">
                <a16:creationId xmlns:a16="http://schemas.microsoft.com/office/drawing/2014/main" id="{48A37FD4-80CC-1828-6DF5-5882F04CAB2A}"/>
              </a:ext>
            </a:extLst>
          </p:cNvPr>
          <p:cNvSpPr/>
          <p:nvPr userDrawn="1"/>
        </p:nvSpPr>
        <p:spPr>
          <a:xfrm>
            <a:off x="4932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6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36806FA2-43DA-8964-E325-6EA0415866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15350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0519447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7751742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33541021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07225" y="340424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17586221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51512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340566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551387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551387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551387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11104908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ar-MA" dirty="0"/>
              <a:t>هيكلة حصة اليوم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73698529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3843" y="2190869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6190420" y="2150869"/>
            <a:ext cx="76976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314000" y="195068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33371121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5841973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6BAD3D9-AD58-179C-B69E-830F87AB1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C07E0A2-EA33-DE3C-110B-9BF33762DD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50E2FFA-A2BC-19B6-2E21-52362DDA208C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01B804A5-6AAB-7FA2-7E6D-C43CE6A9B2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pour une image  26">
            <a:extLst>
              <a:ext uri="{FF2B5EF4-FFF2-40B4-BE49-F238E27FC236}">
                <a16:creationId xmlns:a16="http://schemas.microsoft.com/office/drawing/2014/main" id="{1B168C30-0497-899C-FCA3-02A763CF9BD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82560790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5938169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88955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83532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5984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1262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7040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69659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40970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13140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133555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62429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75931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31620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48336950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42602581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5393692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32364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49510387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2999876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51739665"/>
      </p:ext>
    </p:extLst>
  </p:cSld>
  <p:clrMapOvr>
    <a:masterClrMapping/>
  </p:clrMapOvr>
  <p:transition spd="slow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1112276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33799315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92774107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82465372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24360072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09414243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67565055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544326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0449877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39609776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3819482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14294695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5379367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5536308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4371231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03657648"/>
      </p:ext>
    </p:extLst>
  </p:cSld>
  <p:clrMapOvr>
    <a:masterClrMapping/>
  </p:clrMapOvr>
  <p:transition spd="slow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29967491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85933504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image" Target="../media/image4.bin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theme" Target="../theme/theme10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5" Type="http://schemas.openxmlformats.org/officeDocument/2006/relationships/image" Target="../media/image4.bin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23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1.xml"/><Relationship Id="rId19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slideLayout" Target="../slideLayouts/slideLayout19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97.xml"/><Relationship Id="rId21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image" Target="../media/image4.bin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0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image" Target="../media/image4.bin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3.jp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image" Target="../media/image4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image" Target="../media/image12.jpg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image" Target="../media/image4.bin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20775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84337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4509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6991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041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89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59254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900" r:id="rId22"/>
    <p:sldLayoutId id="2147483709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7D3BCD8-9868-4174-A461-8C04FAF3A9DD}" type="datetimeFigureOut">
              <a:rPr lang="fr-FR" smtClean="0"/>
              <a:pPr/>
              <a:t>11/12/2025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10B60BE7-EAD2-4C3B-A9F2-B2A20B3BFA2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514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840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3BCD8-9868-4174-A461-8C04FAF3A9DD}" type="datetimeFigureOut">
              <a:rPr lang="fr-FR" smtClean="0"/>
              <a:t>11/12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1047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2311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899" r:id="rId24"/>
    <p:sldLayoutId id="2147483898" r:id="rId25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8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9694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825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38.png"/><Relationship Id="rId7" Type="http://schemas.openxmlformats.org/officeDocument/2006/relationships/image" Target="../media/image4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microsoft.com/office/2007/relationships/hdphoto" Target="../media/hdphoto6.wdp"/><Relationship Id="rId7" Type="http://schemas.openxmlformats.org/officeDocument/2006/relationships/image" Target="../media/image40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34.png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38.png"/><Relationship Id="rId7" Type="http://schemas.openxmlformats.org/officeDocument/2006/relationships/image" Target="../media/image5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10" Type="http://schemas.microsoft.com/office/2007/relationships/hdphoto" Target="../media/hdphoto5.wdp"/><Relationship Id="rId4" Type="http://schemas.openxmlformats.org/officeDocument/2006/relationships/image" Target="../media/image39.png"/><Relationship Id="rId9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38.png"/><Relationship Id="rId7" Type="http://schemas.openxmlformats.org/officeDocument/2006/relationships/image" Target="../media/image5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38.png"/><Relationship Id="rId7" Type="http://schemas.openxmlformats.org/officeDocument/2006/relationships/image" Target="../media/image52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38.png"/><Relationship Id="rId7" Type="http://schemas.openxmlformats.org/officeDocument/2006/relationships/image" Target="../media/image52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6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38.png"/><Relationship Id="rId7" Type="http://schemas.openxmlformats.org/officeDocument/2006/relationships/image" Target="../media/image52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53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microsoft.com/office/2007/relationships/hdphoto" Target="../media/hdphoto7.wdp"/><Relationship Id="rId7" Type="http://schemas.openxmlformats.org/officeDocument/2006/relationships/image" Target="../media/image38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6.png"/><Relationship Id="rId5" Type="http://schemas.microsoft.com/office/2007/relationships/hdphoto" Target="../media/hdphoto5.wdp"/><Relationship Id="rId10" Type="http://schemas.openxmlformats.org/officeDocument/2006/relationships/image" Target="../media/image25.png"/><Relationship Id="rId4" Type="http://schemas.openxmlformats.org/officeDocument/2006/relationships/image" Target="../media/image49.png"/><Relationship Id="rId9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38.png"/><Relationship Id="rId7" Type="http://schemas.openxmlformats.org/officeDocument/2006/relationships/image" Target="../media/image5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6.png"/><Relationship Id="rId5" Type="http://schemas.openxmlformats.org/officeDocument/2006/relationships/image" Target="../media/image40.png"/><Relationship Id="rId10" Type="http://schemas.microsoft.com/office/2007/relationships/hdphoto" Target="../media/hdphoto5.wdp"/><Relationship Id="rId4" Type="http://schemas.openxmlformats.org/officeDocument/2006/relationships/image" Target="../media/image39.png"/><Relationship Id="rId9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38.png"/><Relationship Id="rId7" Type="http://schemas.openxmlformats.org/officeDocument/2006/relationships/image" Target="../media/image5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38.png"/><Relationship Id="rId7" Type="http://schemas.openxmlformats.org/officeDocument/2006/relationships/image" Target="../media/image5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38.png"/><Relationship Id="rId7" Type="http://schemas.openxmlformats.org/officeDocument/2006/relationships/image" Target="../media/image5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38.png"/><Relationship Id="rId7" Type="http://schemas.openxmlformats.org/officeDocument/2006/relationships/image" Target="../media/image5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gi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3" Type="http://schemas.openxmlformats.org/officeDocument/2006/relationships/image" Target="../media/image38.png"/><Relationship Id="rId7" Type="http://schemas.openxmlformats.org/officeDocument/2006/relationships/image" Target="../media/image5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5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5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6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3.wdp"/><Relationship Id="rId3" Type="http://schemas.openxmlformats.org/officeDocument/2006/relationships/image" Target="../media/image38.png"/><Relationship Id="rId7" Type="http://schemas.openxmlformats.org/officeDocument/2006/relationships/image" Target="../media/image5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hdphoto" Target="../media/hdphoto13.wdp"/><Relationship Id="rId3" Type="http://schemas.openxmlformats.org/officeDocument/2006/relationships/image" Target="../media/image38.png"/><Relationship Id="rId7" Type="http://schemas.openxmlformats.org/officeDocument/2006/relationships/image" Target="../media/image5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hdphoto" Target="../media/hdphoto14.wdp"/><Relationship Id="rId3" Type="http://schemas.openxmlformats.org/officeDocument/2006/relationships/image" Target="../media/image38.png"/><Relationship Id="rId7" Type="http://schemas.openxmlformats.org/officeDocument/2006/relationships/image" Target="../media/image6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14.wdp"/><Relationship Id="rId3" Type="http://schemas.openxmlformats.org/officeDocument/2006/relationships/image" Target="../media/image38.png"/><Relationship Id="rId7" Type="http://schemas.openxmlformats.org/officeDocument/2006/relationships/image" Target="../media/image6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35.png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35.png"/><Relationship Id="rId3" Type="http://schemas.microsoft.com/office/2007/relationships/hdphoto" Target="../media/hdphoto1.wdp"/><Relationship Id="rId7" Type="http://schemas.openxmlformats.org/officeDocument/2006/relationships/image" Target="../media/image18.png"/><Relationship Id="rId12" Type="http://schemas.microsoft.com/office/2007/relationships/hdphoto" Target="../media/hdphoto15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gif"/><Relationship Id="rId11" Type="http://schemas.openxmlformats.org/officeDocument/2006/relationships/image" Target="../media/image61.png"/><Relationship Id="rId5" Type="http://schemas.microsoft.com/office/2007/relationships/hdphoto" Target="../media/hdphoto2.wdp"/><Relationship Id="rId10" Type="http://schemas.openxmlformats.org/officeDocument/2006/relationships/image" Target="../media/image33.png"/><Relationship Id="rId4" Type="http://schemas.openxmlformats.org/officeDocument/2006/relationships/image" Target="../media/image9.png"/><Relationship Id="rId9" Type="http://schemas.microsoft.com/office/2007/relationships/hdphoto" Target="../media/hdphoto3.wdp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25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7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63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3" Type="http://schemas.openxmlformats.org/officeDocument/2006/relationships/image" Target="../media/image38.png"/><Relationship Id="rId7" Type="http://schemas.openxmlformats.org/officeDocument/2006/relationships/image" Target="../media/image64.png"/><Relationship Id="rId12" Type="http://schemas.microsoft.com/office/2007/relationships/hdphoto" Target="../media/hdphoto18.wd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11" Type="http://schemas.openxmlformats.org/officeDocument/2006/relationships/image" Target="../media/image66.png"/><Relationship Id="rId5" Type="http://schemas.openxmlformats.org/officeDocument/2006/relationships/image" Target="../media/image40.png"/><Relationship Id="rId10" Type="http://schemas.microsoft.com/office/2007/relationships/hdphoto" Target="../media/hdphoto17.wdp"/><Relationship Id="rId4" Type="http://schemas.openxmlformats.org/officeDocument/2006/relationships/image" Target="../media/image39.png"/><Relationship Id="rId9" Type="http://schemas.openxmlformats.org/officeDocument/2006/relationships/image" Target="../media/image65.png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19.wdp"/><Relationship Id="rId3" Type="http://schemas.openxmlformats.org/officeDocument/2006/relationships/image" Target="../media/image38.png"/><Relationship Id="rId7" Type="http://schemas.openxmlformats.org/officeDocument/2006/relationships/image" Target="../media/image6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4.xml.rels><?xml version="1.0" encoding="UTF-8" standalone="yes"?>
<Relationships xmlns="http://schemas.openxmlformats.org/package/2006/relationships"><Relationship Id="rId8" Type="http://schemas.microsoft.com/office/2007/relationships/hdphoto" Target="../media/hdphoto20.wdp"/><Relationship Id="rId3" Type="http://schemas.openxmlformats.org/officeDocument/2006/relationships/image" Target="../media/image38.png"/><Relationship Id="rId7" Type="http://schemas.openxmlformats.org/officeDocument/2006/relationships/image" Target="../media/image6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hdphoto" Target="../media/hdphoto21.wdp"/><Relationship Id="rId3" Type="http://schemas.openxmlformats.org/officeDocument/2006/relationships/image" Target="../media/image38.png"/><Relationship Id="rId7" Type="http://schemas.openxmlformats.org/officeDocument/2006/relationships/image" Target="../media/image6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4.png"/><Relationship Id="rId5" Type="http://schemas.openxmlformats.org/officeDocument/2006/relationships/image" Target="../media/image40.png"/><Relationship Id="rId10" Type="http://schemas.microsoft.com/office/2007/relationships/hdphoto" Target="../media/hdphoto18.wdp"/><Relationship Id="rId4" Type="http://schemas.openxmlformats.org/officeDocument/2006/relationships/image" Target="../media/image39.png"/><Relationship Id="rId9" Type="http://schemas.openxmlformats.org/officeDocument/2006/relationships/image" Target="../media/image66.png"/></Relationships>
</file>

<file path=ppt/slides/_rels/slide46.xml.rels><?xml version="1.0" encoding="UTF-8" standalone="yes"?>
<Relationships xmlns="http://schemas.openxmlformats.org/package/2006/relationships"><Relationship Id="rId8" Type="http://schemas.microsoft.com/office/2007/relationships/hdphoto" Target="../media/hdphoto22.wdp"/><Relationship Id="rId3" Type="http://schemas.openxmlformats.org/officeDocument/2006/relationships/image" Target="../media/image38.png"/><Relationship Id="rId7" Type="http://schemas.openxmlformats.org/officeDocument/2006/relationships/image" Target="../media/image7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gi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9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173.xml"/><Relationship Id="rId7" Type="http://schemas.openxmlformats.org/officeDocument/2006/relationships/image" Target="../media/image39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8.png"/><Relationship Id="rId5" Type="http://schemas.openxmlformats.org/officeDocument/2006/relationships/image" Target="../media/image36.png"/><Relationship Id="rId4" Type="http://schemas.openxmlformats.org/officeDocument/2006/relationships/image" Target="../media/image71.png"/><Relationship Id="rId9" Type="http://schemas.openxmlformats.org/officeDocument/2006/relationships/image" Target="../media/image7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34.png"/><Relationship Id="rId5" Type="http://schemas.openxmlformats.org/officeDocument/2006/relationships/image" Target="../media/image14.png"/><Relationship Id="rId4" Type="http://schemas.openxmlformats.org/officeDocument/2006/relationships/image" Target="../media/image33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50.xml"/><Relationship Id="rId7" Type="http://schemas.openxmlformats.org/officeDocument/2006/relationships/image" Target="../media/image38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36.png"/><Relationship Id="rId5" Type="http://schemas.openxmlformats.org/officeDocument/2006/relationships/image" Target="../media/image29.gif"/><Relationship Id="rId10" Type="http://schemas.openxmlformats.org/officeDocument/2006/relationships/image" Target="../media/image25.png"/><Relationship Id="rId4" Type="http://schemas.openxmlformats.org/officeDocument/2006/relationships/image" Target="../media/image73.png"/><Relationship Id="rId9" Type="http://schemas.openxmlformats.org/officeDocument/2006/relationships/image" Target="../media/image40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2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1.jp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png"/><Relationship Id="rId11" Type="http://schemas.openxmlformats.org/officeDocument/2006/relationships/image" Target="../media/image27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40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6.png"/><Relationship Id="rId9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26DB093-5A24-50DB-40BE-615D244033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0" b="3898"/>
          <a:stretch>
            <a:fillRect/>
          </a:stretch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5635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D66D4-6EAC-890C-3DAF-1CB34FC9D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E4A397-21FA-CF72-B01A-7485FDDEE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756000"/>
            <a:ext cx="7039236" cy="612000"/>
          </a:xfrm>
        </p:spPr>
        <p:txBody>
          <a:bodyPr>
            <a:no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دوا كراساتكم . الصفحة 76. سأتحقق من درجة تحكمكم في استراتيجية الكلمات المفاتيح.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82A47BC-11A4-D699-47E4-ACF7FC8C7C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2953472-91C0-F996-F894-7933A552D81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980D037-E7AA-8B76-DFED-816FFE528CB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6E035D8-8D1B-B70D-C857-D1542CCA9FB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64585D-4F35-65B1-4B0E-2857CFBB5B4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فتتاح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ar-MA" sz="1600" b="1" dirty="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96495D-7D9B-BB42-7C20-B20682F83BC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565F88">
                    <a:alpha val="2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راجعة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ar-MA" sz="1600" b="1" dirty="0">
                <a:solidFill>
                  <a:srgbClr val="565F88">
                    <a:alpha val="2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B33D57-7972-5F2C-D032-49F73D3AD31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69A596-196B-2D10-7631-7413B54FCD6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id="{1567F272-58DC-64E5-D128-9C0561DF534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56597F0-316D-1454-C9DF-57D379BDC5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30798" y="1947015"/>
            <a:ext cx="3119371" cy="4296965"/>
          </a:xfrm>
          <a:prstGeom prst="rect">
            <a:avLst/>
          </a:prstGeom>
          <a:ln>
            <a:solidFill>
              <a:srgbClr val="FFC000"/>
            </a:solidFill>
          </a:ln>
        </p:spPr>
      </p:pic>
    </p:spTree>
    <p:extLst>
      <p:ext uri="{BB962C8B-B14F-4D97-AF65-F5344CB8AC3E}">
        <p14:creationId xmlns:p14="http://schemas.microsoft.com/office/powerpoint/2010/main" val="1046104809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673057-B35F-CDB2-0679-18F415F478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9D315AC-CA9C-D7D4-A26B-7CB27C7C65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7131" y="1840875"/>
            <a:ext cx="7107670" cy="4526277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83A850F1-364D-E513-32FA-5F48532E6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لى ألواحكم أجيبوا عن الأسئلة التالية من خلال النص. سأسجل نسب التحكم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E618EAF-3727-EB91-D2F6-287D584A12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13E8C8B-6019-FC78-CC9C-BCF43D527D8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7BE2049-E8C2-1533-45EC-4DB6308B809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9A810A2-4F40-35E3-CFDF-FB645DE3630B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B2F2601-C84A-75C5-8AC4-72D34D7597E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A7B781-6716-121B-E011-7DACB079E84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31759E2-D8EB-9330-A9B4-59B93CDCA50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88A2C1-198C-7A2B-66E3-4FD93A931CF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7" name="Espace réservé pour une image  12">
            <a:extLst>
              <a:ext uri="{FF2B5EF4-FFF2-40B4-BE49-F238E27FC236}">
                <a16:creationId xmlns:a16="http://schemas.microsoft.com/office/drawing/2014/main" id="{FAE2E58C-7D5B-C34D-6F9F-3B7EBFA919D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274870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5021E-D218-B50F-7257-B89B104B6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4FAFDB7D-9F81-5B68-816B-DCE94FC51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أول.  اقرأ النص جيدا ورتب أرقام الأحداث التالية ترتيبا زمنيا منطقيا. دقيقتان للإجابة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D466DD3-BB7C-9F34-6775-B61C6BD63A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3A09C34-4583-6E6F-86DE-8B30107742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E4DAB8B-BF26-05B1-3C8E-923D47CC4D9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1F96E0E-5B66-7585-CE19-95DC87F0C1D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15099B9-FC4E-980F-ACB4-79F6D2EBE033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196376-4484-1D28-EE12-C1565E4C8FF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6D58150-125D-13B1-A66B-AD93F82466C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FCE8F9-8B5F-C747-A4DC-FD1690E9E54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5CF6FF20-F56A-7530-239D-011E7E8C7A81}"/>
              </a:ext>
            </a:extLst>
          </p:cNvPr>
          <p:cNvSpPr txBox="1"/>
          <p:nvPr/>
        </p:nvSpPr>
        <p:spPr>
          <a:xfrm>
            <a:off x="1333907" y="2969322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اهَ سالِمٌ في </a:t>
            </a:r>
            <a:r>
              <a:rPr kumimoji="0" lang="ar-MA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ٱلْخَلاءِ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DDF5F1D0-D8E9-D1E9-E75E-BE88CCB3997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452;p158">
            <a:extLst>
              <a:ext uri="{FF2B5EF4-FFF2-40B4-BE49-F238E27FC236}">
                <a16:creationId xmlns:a16="http://schemas.microsoft.com/office/drawing/2014/main" id="{89A514B0-D949-DD70-E8E9-051D319190B9}"/>
              </a:ext>
            </a:extLst>
          </p:cNvPr>
          <p:cNvSpPr txBox="1"/>
          <p:nvPr/>
        </p:nvSpPr>
        <p:spPr>
          <a:xfrm>
            <a:off x="1333908" y="4082389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هَجَمَ ٱللَّيْلُ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8" name="Google Shape;452;p158">
            <a:extLst>
              <a:ext uri="{FF2B5EF4-FFF2-40B4-BE49-F238E27FC236}">
                <a16:creationId xmlns:a16="http://schemas.microsoft.com/office/drawing/2014/main" id="{DDC3D959-2AED-6B00-5C41-BFC798903EB1}"/>
              </a:ext>
            </a:extLst>
          </p:cNvPr>
          <p:cNvSpPr txBox="1"/>
          <p:nvPr/>
        </p:nvSpPr>
        <p:spPr>
          <a:xfrm>
            <a:off x="1333907" y="1805838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نالَ سالِمٌ نَصيباً مِنَ ٱلرّاحَةِ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6B5F4D27-0A6F-3634-0C79-275D26261661}"/>
              </a:ext>
            </a:extLst>
          </p:cNvPr>
          <p:cNvSpPr txBox="1"/>
          <p:nvPr/>
        </p:nvSpPr>
        <p:spPr>
          <a:xfrm>
            <a:off x="1333908" y="5182644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b="1" dirty="0">
                <a:solidFill>
                  <a:srgbClr val="424D7C"/>
                </a:solidFill>
                <a:sym typeface="Sakkal Majalla"/>
              </a:rPr>
              <a:t>اِسْتَقْبَلَ أَهْلُ ٱلْقَرْيَةِ سالِماً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6" name="Google Shape;452;p158">
            <a:extLst>
              <a:ext uri="{FF2B5EF4-FFF2-40B4-BE49-F238E27FC236}">
                <a16:creationId xmlns:a16="http://schemas.microsoft.com/office/drawing/2014/main" id="{CD940A3C-402A-01C5-029F-938DECC66817}"/>
              </a:ext>
            </a:extLst>
          </p:cNvPr>
          <p:cNvSpPr txBox="1"/>
          <p:nvPr/>
        </p:nvSpPr>
        <p:spPr>
          <a:xfrm>
            <a:off x="6714805" y="1805838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1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7" name="Google Shape;452;p158">
            <a:extLst>
              <a:ext uri="{FF2B5EF4-FFF2-40B4-BE49-F238E27FC236}">
                <a16:creationId xmlns:a16="http://schemas.microsoft.com/office/drawing/2014/main" id="{45F31C50-4579-EB7F-82FA-62C4F8323CF8}"/>
              </a:ext>
            </a:extLst>
          </p:cNvPr>
          <p:cNvSpPr txBox="1"/>
          <p:nvPr/>
        </p:nvSpPr>
        <p:spPr>
          <a:xfrm>
            <a:off x="6714805" y="2969322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2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8" name="Google Shape;452;p158">
            <a:extLst>
              <a:ext uri="{FF2B5EF4-FFF2-40B4-BE49-F238E27FC236}">
                <a16:creationId xmlns:a16="http://schemas.microsoft.com/office/drawing/2014/main" id="{DC5B5EF9-41E5-DE10-6753-F66B49F647E7}"/>
              </a:ext>
            </a:extLst>
          </p:cNvPr>
          <p:cNvSpPr txBox="1"/>
          <p:nvPr/>
        </p:nvSpPr>
        <p:spPr>
          <a:xfrm>
            <a:off x="6714805" y="4082389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3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9" name="Google Shape;452;p158">
            <a:extLst>
              <a:ext uri="{FF2B5EF4-FFF2-40B4-BE49-F238E27FC236}">
                <a16:creationId xmlns:a16="http://schemas.microsoft.com/office/drawing/2014/main" id="{D21A125D-3D1D-DB22-C86E-138C0CA57402}"/>
              </a:ext>
            </a:extLst>
          </p:cNvPr>
          <p:cNvSpPr txBox="1"/>
          <p:nvPr/>
        </p:nvSpPr>
        <p:spPr>
          <a:xfrm>
            <a:off x="6714804" y="5182644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4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20100560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91E6F-9780-6618-CA97-BAE741686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ACD42ED0-9035-E9E9-E06C-5EF9E3AA7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E65B1FE-837D-4BB0-2D0E-0F48D3B6A1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24022FB-378E-D55C-669E-75CCD3E8637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3DA3122-E1F1-7056-DD7C-C3EE509EE9D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A8452C5-88EB-3CFC-D264-B7711CB3621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0B90589-438B-2D97-FD80-6984FF0B868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962867-AF4A-70BB-BF8D-67A00277370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2105F4D-756A-0F8C-0D88-1708743807B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708F92-0B04-74C8-A1AA-80F689C47F17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4CF61D7A-2489-378B-5D47-996E6CF0E648}"/>
              </a:ext>
            </a:extLst>
          </p:cNvPr>
          <p:cNvSpPr txBox="1"/>
          <p:nvPr/>
        </p:nvSpPr>
        <p:spPr>
          <a:xfrm>
            <a:off x="1333907" y="2969322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اهَ سالِمٌ في </a:t>
            </a:r>
            <a:r>
              <a:rPr kumimoji="0" lang="ar-MA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ٱلْخَلاءِ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F3D97ED1-6668-96F2-28DF-0CABA6011E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452;p158">
            <a:extLst>
              <a:ext uri="{FF2B5EF4-FFF2-40B4-BE49-F238E27FC236}">
                <a16:creationId xmlns:a16="http://schemas.microsoft.com/office/drawing/2014/main" id="{BAF9F44E-85FB-3856-9249-E8F781804E95}"/>
              </a:ext>
            </a:extLst>
          </p:cNvPr>
          <p:cNvSpPr txBox="1"/>
          <p:nvPr/>
        </p:nvSpPr>
        <p:spPr>
          <a:xfrm>
            <a:off x="1333908" y="4082389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هَجَمَ ٱللَّيْلُ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8" name="Google Shape;452;p158">
            <a:extLst>
              <a:ext uri="{FF2B5EF4-FFF2-40B4-BE49-F238E27FC236}">
                <a16:creationId xmlns:a16="http://schemas.microsoft.com/office/drawing/2014/main" id="{8A0BDF42-6696-9570-3B6D-B93E69EE8216}"/>
              </a:ext>
            </a:extLst>
          </p:cNvPr>
          <p:cNvSpPr txBox="1"/>
          <p:nvPr/>
        </p:nvSpPr>
        <p:spPr>
          <a:xfrm>
            <a:off x="1333907" y="1805838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نالَ سالِمٌ نَصيباً مِنَ ٱلرّاحَةِ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828F03FC-56C6-125C-6F98-8F9D71B0219D}"/>
              </a:ext>
            </a:extLst>
          </p:cNvPr>
          <p:cNvSpPr txBox="1"/>
          <p:nvPr/>
        </p:nvSpPr>
        <p:spPr>
          <a:xfrm>
            <a:off x="1333908" y="5182644"/>
            <a:ext cx="4665837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ِسْتَقْبَلَ أَهْلُ ٱلْقَرْيَةِ سالِماً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6" name="Google Shape;452;p158">
            <a:extLst>
              <a:ext uri="{FF2B5EF4-FFF2-40B4-BE49-F238E27FC236}">
                <a16:creationId xmlns:a16="http://schemas.microsoft.com/office/drawing/2014/main" id="{8BD32905-8902-3F5B-6586-8B034137DCCA}"/>
              </a:ext>
            </a:extLst>
          </p:cNvPr>
          <p:cNvSpPr txBox="1"/>
          <p:nvPr/>
        </p:nvSpPr>
        <p:spPr>
          <a:xfrm>
            <a:off x="6610183" y="2969322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1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7" name="Google Shape;452;p158">
            <a:extLst>
              <a:ext uri="{FF2B5EF4-FFF2-40B4-BE49-F238E27FC236}">
                <a16:creationId xmlns:a16="http://schemas.microsoft.com/office/drawing/2014/main" id="{B43EA416-CB5C-6F5B-4D78-D4B0EAE4E595}"/>
              </a:ext>
            </a:extLst>
          </p:cNvPr>
          <p:cNvSpPr txBox="1"/>
          <p:nvPr/>
        </p:nvSpPr>
        <p:spPr>
          <a:xfrm>
            <a:off x="6560849" y="4042356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2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8" name="Google Shape;452;p158">
            <a:extLst>
              <a:ext uri="{FF2B5EF4-FFF2-40B4-BE49-F238E27FC236}">
                <a16:creationId xmlns:a16="http://schemas.microsoft.com/office/drawing/2014/main" id="{F740E0EF-8D5C-2FEC-D228-8938315017BC}"/>
              </a:ext>
            </a:extLst>
          </p:cNvPr>
          <p:cNvSpPr txBox="1"/>
          <p:nvPr/>
        </p:nvSpPr>
        <p:spPr>
          <a:xfrm>
            <a:off x="6560849" y="5182644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3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9" name="Google Shape;452;p158">
            <a:extLst>
              <a:ext uri="{FF2B5EF4-FFF2-40B4-BE49-F238E27FC236}">
                <a16:creationId xmlns:a16="http://schemas.microsoft.com/office/drawing/2014/main" id="{4CAF7037-A144-F771-178E-848F160E4F88}"/>
              </a:ext>
            </a:extLst>
          </p:cNvPr>
          <p:cNvSpPr txBox="1"/>
          <p:nvPr/>
        </p:nvSpPr>
        <p:spPr>
          <a:xfrm>
            <a:off x="6560849" y="1805838"/>
            <a:ext cx="105075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4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8088298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88AABD-DC34-2329-CFD2-3CE2A589EC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EBBB1BBF-D864-2B09-D017-1AA2300FF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ني.  معكم دقيقتان للإجابة. 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3162AD1-9706-3C6C-3655-8D76B185E4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9186F8F-4942-D258-7795-453B4B9C504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2505DA2-3004-4489-C3E4-524F2000088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115FB2E-6B5E-1511-1D0C-729B941ABA2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D48D8D5-D3EE-ED5E-D314-54CB054C9E3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A4F402-B35C-E8F1-23EE-1C091702128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5908AE-EB25-FEBF-A913-21A19D175DD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9E0A6-49A3-D479-53A9-BF4F97362477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8AA480E8-A859-5F15-EC81-B8CF600D7A7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8" name="Google Shape;452;p158">
            <a:extLst>
              <a:ext uri="{FF2B5EF4-FFF2-40B4-BE49-F238E27FC236}">
                <a16:creationId xmlns:a16="http://schemas.microsoft.com/office/drawing/2014/main" id="{1A371EAC-F84B-07F6-81BC-4838E22AAE3A}"/>
              </a:ext>
            </a:extLst>
          </p:cNvPr>
          <p:cNvSpPr txBox="1"/>
          <p:nvPr/>
        </p:nvSpPr>
        <p:spPr>
          <a:xfrm>
            <a:off x="816737" y="3620475"/>
            <a:ext cx="751052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َلْمَكانُ : ......................................................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6F4544FA-4DC1-729A-FC86-894EF9E3778C}"/>
              </a:ext>
            </a:extLst>
          </p:cNvPr>
          <p:cNvSpPr txBox="1"/>
          <p:nvPr/>
        </p:nvSpPr>
        <p:spPr>
          <a:xfrm>
            <a:off x="864330" y="5098228"/>
            <a:ext cx="751052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َلزَّمانُ : .....................................................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70206A5C-A2C0-FF27-E85F-31E615CEA8A5}"/>
              </a:ext>
            </a:extLst>
          </p:cNvPr>
          <p:cNvSpPr txBox="1"/>
          <p:nvPr/>
        </p:nvSpPr>
        <p:spPr>
          <a:xfrm>
            <a:off x="864331" y="2142722"/>
            <a:ext cx="751052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َلشَّخْصِية ٱلرَّئيسِيَّةُ : ........................................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7100549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47FD2-AE95-45EB-534C-C3ECC785C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74BF7CFD-E1F1-792A-0745-BA1D484AA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 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D7513D0-7383-11B7-94C6-697659C809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6228666-9B47-5F72-D5E6-137EDB2C7A6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B949FFA-F805-D4B1-A26E-E369D5BB535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440DE7C-099A-B6AB-CA72-2F570AB13F1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8762F98-199C-2CD4-C20C-8C2BAF0FC45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18D698-0396-1A0F-00E1-BF439E97C6C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975FDE-D688-E805-EC3C-C8FFDCFD240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63566D-327D-F814-3F05-4F0820F3BB3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300AE51D-1FF0-4B58-0DF7-63A14A1288A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452;p158">
            <a:extLst>
              <a:ext uri="{FF2B5EF4-FFF2-40B4-BE49-F238E27FC236}">
                <a16:creationId xmlns:a16="http://schemas.microsoft.com/office/drawing/2014/main" id="{1C675B4E-7721-FC06-1CCE-6C9B97B8260E}"/>
              </a:ext>
            </a:extLst>
          </p:cNvPr>
          <p:cNvSpPr txBox="1"/>
          <p:nvPr/>
        </p:nvSpPr>
        <p:spPr>
          <a:xfrm>
            <a:off x="864331" y="2142722"/>
            <a:ext cx="751052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َلشَّخْصِيَةُ ٱلرَّئيسِيَّةُ :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سالمٌ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8" name="Google Shape;452;p158">
            <a:extLst>
              <a:ext uri="{FF2B5EF4-FFF2-40B4-BE49-F238E27FC236}">
                <a16:creationId xmlns:a16="http://schemas.microsoft.com/office/drawing/2014/main" id="{FE735789-D3A4-BE78-CC0D-874AA85B9169}"/>
              </a:ext>
            </a:extLst>
          </p:cNvPr>
          <p:cNvSpPr txBox="1"/>
          <p:nvPr/>
        </p:nvSpPr>
        <p:spPr>
          <a:xfrm>
            <a:off x="816737" y="3620475"/>
            <a:ext cx="751052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َلْمَكانُ : </a:t>
            </a:r>
            <a:r>
              <a:rPr lang="ar-MA" b="1" dirty="0">
                <a:solidFill>
                  <a:srgbClr val="C00000"/>
                </a:solidFill>
                <a:sym typeface="Sakkal Majalla"/>
              </a:rPr>
              <a:t>اَلصَّحْراءُ</a:t>
            </a:r>
            <a:endParaRPr b="1"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BFA5E9A3-5605-24D7-5EA0-A1E6D0BE8418}"/>
              </a:ext>
            </a:extLst>
          </p:cNvPr>
          <p:cNvSpPr txBox="1"/>
          <p:nvPr/>
        </p:nvSpPr>
        <p:spPr>
          <a:xfrm>
            <a:off x="864330" y="5098228"/>
            <a:ext cx="7510525" cy="919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َلزَّمانُ : </a:t>
            </a:r>
            <a:r>
              <a:rPr lang="ar-MA" b="1" dirty="0">
                <a:solidFill>
                  <a:srgbClr val="C00000"/>
                </a:solidFill>
                <a:sym typeface="Sakkal Majalla"/>
              </a:rPr>
              <a:t>ذاتَ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lang="ar-MA" b="1" dirty="0">
                <a:solidFill>
                  <a:srgbClr val="C00000"/>
                </a:solidFill>
                <a:sym typeface="Sakkal Majalla"/>
              </a:rPr>
              <a:t>رِحْلَةٍ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lang="ar-MA" b="1" dirty="0">
                <a:solidFill>
                  <a:srgbClr val="C00000"/>
                </a:solidFill>
                <a:sym typeface="Sakkal Majalla"/>
              </a:rPr>
              <a:t>صَيْفِيَّةٍ</a:t>
            </a:r>
            <a:endParaRPr b="1" dirty="0">
              <a:solidFill>
                <a:srgbClr val="C00000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8308443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5C776E2-EBEC-1C84-DDC0-0CA04883D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79347"/>
            <a:ext cx="7886700" cy="720000"/>
          </a:xfrm>
        </p:spPr>
        <p:txBody>
          <a:bodyPr/>
          <a:lstStyle/>
          <a:p>
            <a:pPr rtl="1"/>
            <a:r>
              <a:rPr lang="ar-MA" sz="5400" dirty="0">
                <a:solidFill>
                  <a:srgbClr val="424D7B"/>
                </a:solidFill>
                <a:latin typeface="Microsoft Uighur" panose="02000000000000000000" pitchFamily="2" charset="-78"/>
              </a:rPr>
              <a:t>عند نهاية رائز التحقق</a:t>
            </a:r>
            <a:endParaRPr lang="fr-MA" sz="5400" dirty="0">
              <a:solidFill>
                <a:srgbClr val="424D7B"/>
              </a:solidFill>
              <a:latin typeface="Microsoft Uighur" panose="02000000000000000000" pitchFamily="2" charset="-78"/>
            </a:endParaRPr>
          </a:p>
        </p:txBody>
      </p:sp>
      <p:sp>
        <p:nvSpPr>
          <p:cNvPr id="5" name="Google Shape;452;p158">
            <a:extLst>
              <a:ext uri="{FF2B5EF4-FFF2-40B4-BE49-F238E27FC236}">
                <a16:creationId xmlns:a16="http://schemas.microsoft.com/office/drawing/2014/main" id="{704BE1AA-7525-7712-CF9E-1CC63D3D82B4}"/>
              </a:ext>
            </a:extLst>
          </p:cNvPr>
          <p:cNvSpPr txBox="1"/>
          <p:nvPr/>
        </p:nvSpPr>
        <p:spPr>
          <a:xfrm>
            <a:off x="5123949" y="2446331"/>
            <a:ext cx="3149266" cy="6469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نسبة التحكم أقل من</a:t>
            </a:r>
            <a:r>
              <a:rPr kumimoji="0" lang="fr-FR" sz="32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fr-FR" sz="3200" dirty="0">
                <a:solidFill>
                  <a:prstClr val="black"/>
                </a:solidFill>
              </a:rPr>
              <a:t>80%</a:t>
            </a: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6" name="Google Shape;452;p158">
            <a:extLst>
              <a:ext uri="{FF2B5EF4-FFF2-40B4-BE49-F238E27FC236}">
                <a16:creationId xmlns:a16="http://schemas.microsoft.com/office/drawing/2014/main" id="{5A1FF613-DB5A-6055-0A43-EC8D392EA43E}"/>
              </a:ext>
            </a:extLst>
          </p:cNvPr>
          <p:cNvSpPr txBox="1"/>
          <p:nvPr/>
        </p:nvSpPr>
        <p:spPr>
          <a:xfrm>
            <a:off x="4726907" y="4088198"/>
            <a:ext cx="3943350" cy="17366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prstClr val="black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إعادة نمذجة + استثمار أنشطة المراجعة في الممارسة الموجهة والممارسة المستقلة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7" name="Flèche : bas 6">
            <a:extLst>
              <a:ext uri="{FF2B5EF4-FFF2-40B4-BE49-F238E27FC236}">
                <a16:creationId xmlns:a16="http://schemas.microsoft.com/office/drawing/2014/main" id="{B04456D1-E9EC-5DCA-2911-B940AFCE0785}"/>
              </a:ext>
            </a:extLst>
          </p:cNvPr>
          <p:cNvSpPr/>
          <p:nvPr/>
        </p:nvSpPr>
        <p:spPr>
          <a:xfrm>
            <a:off x="6456266" y="3251052"/>
            <a:ext cx="353608" cy="646941"/>
          </a:xfrm>
          <a:prstGeom prst="downArrow">
            <a:avLst/>
          </a:prstGeom>
          <a:solidFill>
            <a:srgbClr val="424D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9" name="Google Shape;452;p158">
            <a:extLst>
              <a:ext uri="{FF2B5EF4-FFF2-40B4-BE49-F238E27FC236}">
                <a16:creationId xmlns:a16="http://schemas.microsoft.com/office/drawing/2014/main" id="{0C9701EA-A7CB-B2F1-5E80-22F023498239}"/>
              </a:ext>
            </a:extLst>
          </p:cNvPr>
          <p:cNvSpPr txBox="1"/>
          <p:nvPr/>
        </p:nvSpPr>
        <p:spPr>
          <a:xfrm>
            <a:off x="788564" y="2478416"/>
            <a:ext cx="3149266" cy="6469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نسبة التحكم </a:t>
            </a:r>
            <a:r>
              <a:rPr lang="fr-FR" sz="3200" dirty="0">
                <a:solidFill>
                  <a:prstClr val="black"/>
                </a:solidFill>
              </a:rPr>
              <a:t>80%</a:t>
            </a: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وأكثر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0" name="Google Shape;452;p158">
            <a:extLst>
              <a:ext uri="{FF2B5EF4-FFF2-40B4-BE49-F238E27FC236}">
                <a16:creationId xmlns:a16="http://schemas.microsoft.com/office/drawing/2014/main" id="{C5D1C612-4530-BE97-EAE0-E8B89DBDF1B6}"/>
              </a:ext>
            </a:extLst>
          </p:cNvPr>
          <p:cNvSpPr txBox="1"/>
          <p:nvPr/>
        </p:nvSpPr>
        <p:spPr>
          <a:xfrm>
            <a:off x="391522" y="4120283"/>
            <a:ext cx="3943350" cy="119177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prstClr val="black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ستثمار الأنشطة للدعم والإغناء.</a:t>
            </a:r>
          </a:p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prstClr val="black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ممارسة مستقلة لجميع الأنشطة.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Flèche : bas 10">
            <a:extLst>
              <a:ext uri="{FF2B5EF4-FFF2-40B4-BE49-F238E27FC236}">
                <a16:creationId xmlns:a16="http://schemas.microsoft.com/office/drawing/2014/main" id="{D6E24C30-117D-C029-08B0-C6043E333A3A}"/>
              </a:ext>
            </a:extLst>
          </p:cNvPr>
          <p:cNvSpPr/>
          <p:nvPr/>
        </p:nvSpPr>
        <p:spPr>
          <a:xfrm>
            <a:off x="2120881" y="3283137"/>
            <a:ext cx="353608" cy="646941"/>
          </a:xfrm>
          <a:prstGeom prst="downArrow">
            <a:avLst/>
          </a:prstGeom>
          <a:solidFill>
            <a:srgbClr val="424D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283470432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CF985-FD44-284B-1EF4-455AC5E6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BD78FFDB-B479-91B6-318E-6F279EADD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2754064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EF3FC7D3-16E7-32AB-47D1-DFBED1F025E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25259" y="1983798"/>
            <a:ext cx="799263" cy="792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71F05B45-4F3B-4AC0-FD76-415805DB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/>
          <a:lstStyle/>
          <a:p>
            <a:pPr lvl="0">
              <a:defRPr/>
            </a:pPr>
            <a:r>
              <a:rPr lang="ar-MA" dirty="0">
                <a:solidFill>
                  <a:srgbClr val="424D7B"/>
                </a:solidFill>
              </a:rPr>
              <a:t>مراجعة وتوليف </a:t>
            </a:r>
          </a:p>
        </p:txBody>
      </p:sp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id="{1C85B691-E8E6-CBFE-8F93-727DFAC3558A}"/>
              </a:ext>
            </a:extLst>
          </p:cNvPr>
          <p:cNvSpPr txBox="1">
            <a:spLocks/>
          </p:cNvSpPr>
          <p:nvPr/>
        </p:nvSpPr>
        <p:spPr>
          <a:xfrm>
            <a:off x="2267712" y="3158999"/>
            <a:ext cx="4964709" cy="540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معالجة التعثرات ودعم المكتسبات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BC60C81-D7D7-2EAD-6045-0B3B679B5792}"/>
              </a:ext>
            </a:extLst>
          </p:cNvPr>
          <p:cNvSpPr txBox="1"/>
          <p:nvPr/>
        </p:nvSpPr>
        <p:spPr>
          <a:xfrm>
            <a:off x="3903631" y="1807822"/>
            <a:ext cx="33287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  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 توليف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8A26902-CB9B-E0A7-9630-544065E8BF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8925" y="956399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0DF71A0A-09F9-C41C-106F-22F0F7FF5E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492" y="1568495"/>
            <a:ext cx="507972" cy="58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3310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EE643-8BBE-B603-815D-8E508B9EC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63F5F5-01C0-0A4C-84E8-384D65BBC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دوا كراساتكم . سننجز أنشطة المراجعة و التوليف الواردة على  الصفحتين 76 و 77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76B67B5-B7F8-5860-055C-A1FF74E6818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5B4CBC4-54DC-3E08-0138-F4A9ABA712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CB6CB7D-9FD0-A403-6CAF-E3CE02E807D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74D7200-9BDC-239F-19EE-501E862B1E6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25ACB8D-F39B-0AC0-6097-E23793A1E5A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5561B9-A365-0FAA-3D7E-C66499C365E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537F2B-F5E8-0DDC-0D5B-C9FE4468387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8433FB-EB30-E5B8-FC43-4EE9BB6FDA3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id="{2563D113-E179-1E3D-00C3-365079C14BB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pSp>
        <p:nvGrpSpPr>
          <p:cNvPr id="17" name="Groupe 16">
            <a:extLst>
              <a:ext uri="{FF2B5EF4-FFF2-40B4-BE49-F238E27FC236}">
                <a16:creationId xmlns:a16="http://schemas.microsoft.com/office/drawing/2014/main" id="{82B1949B-0BC0-5304-8B1D-CEB41D92F30D}"/>
              </a:ext>
            </a:extLst>
          </p:cNvPr>
          <p:cNvGrpSpPr/>
          <p:nvPr/>
        </p:nvGrpSpPr>
        <p:grpSpPr>
          <a:xfrm>
            <a:off x="584403" y="1584325"/>
            <a:ext cx="6887970" cy="4897096"/>
            <a:chOff x="584403" y="1584325"/>
            <a:chExt cx="6887970" cy="4897096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A34D49AF-EC6B-A42A-6A4A-CEB6ED849B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84403" y="1584793"/>
              <a:ext cx="3542148" cy="4896628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8B8DE213-FC83-B551-6761-70D058BCF68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930226" y="1584325"/>
              <a:ext cx="3542147" cy="48793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2309523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1FB0D-A4FE-13BB-3265-08FF8BCF0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B06F8D-9579-5117-BFC5-0BA05B2A3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31" y="756000"/>
            <a:ext cx="7005842" cy="612000"/>
          </a:xfrm>
        </p:spPr>
        <p:txBody>
          <a:bodyPr>
            <a:no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ِقرؤوا النص التالي: « رحلة في الصحراء" قراءة صامتة ؛لتتمكنوا من ضبط جمل بالشكل التام  و الإجابة عن أسئل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89D8C4D-F3E2-3565-AEFC-18CFCE533A8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805A2DC-7B17-EC33-CC39-F8EFB083C5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10F528E-2794-FC7A-3733-927AE3562EC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781079C-1DF9-41BB-1B0C-65F343A07E7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132D184-D105-AA1B-3FF0-465A1B4C1EC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E06382B-2732-5B1D-C582-9724C6CD73F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39ADAE-FD53-5AE1-9548-BDDE9EF86D7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2BF616-27C7-330E-2049-6658A7DF63D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2">
            <a:extLst>
              <a:ext uri="{FF2B5EF4-FFF2-40B4-BE49-F238E27FC236}">
                <a16:creationId xmlns:a16="http://schemas.microsoft.com/office/drawing/2014/main" id="{057E7524-1FAC-67D1-CF24-22DCFA80F07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9BDAF7C-7029-46B1-F7D8-1F1B37752B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7131" y="1840875"/>
            <a:ext cx="7107670" cy="4526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33815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7D1D0-B935-CBE2-7CA4-9D5B14EAF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315F985E-DD92-7278-4194-23AE56F6D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152" y="1573804"/>
            <a:ext cx="8211696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626731"/>
      </p:ext>
    </p:extLst>
  </p:cSld>
  <p:clrMapOvr>
    <a:masterClrMapping/>
  </p:clrMapOvr>
  <p:transition spd="slow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5BF0DB-E553-DCA4-A9F7-4C5165CD3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630A8E4B-8BED-D5A1-6357-B1CB618FF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نشاط الأول:  اضبطوا كلمات الفقرة بالشكل التام.</a:t>
            </a:r>
            <a:b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كتب الفقرة على السبورة ( يمكن الاكتفاء بجمل فقط حسب ما يقتضيه مستوى المتعلمين)</a:t>
            </a:r>
            <a:endParaRPr lang="fr-FR" sz="2400" i="1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4B3C171-70B2-3832-C66B-37D14F6B981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D3ADC61-4EB6-54D0-E07E-83A1880E95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883E053-0548-37D9-3637-CF9FB864C08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052F891-44A8-E889-3145-4D737E02B47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5732D-9465-3D97-3134-166CBC49ED6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1840CF-76CC-8790-DF1F-B65CD680BF2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DCE641-3AA1-ADD0-38C0-55F45C205AA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510CAD-77A0-0394-68AD-E8B884B88DC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id="{EF3E40C8-560C-C692-D931-E4A151C56A0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E5B00ED-D383-7872-64C1-0385E79312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2373" y="2445326"/>
            <a:ext cx="8052353" cy="286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037499"/>
      </p:ext>
    </p:extLst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C6CBB-5967-F0A7-3929-31EEEDC51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DDE7EE44-31B9-FBFA-0E8F-F1B7CF47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A614455-0C17-981D-8F41-2C5F55F8ED1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D6F2A03-627A-DCDF-AA39-134EE9991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C892424-0017-C60B-16B1-FD99F4ACAA9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673DA0C-C323-E206-258F-6D275560BF7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FE5FC27-C86D-8EBE-4627-51272CE79BF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2C1608-435A-732F-9092-8EDBCF92123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F3078D-3A32-60A6-95E2-E64A44A09EE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4572854-153A-5665-45CC-04C6D9284D8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id="{9A451E50-BCEC-636C-28C3-65B24CD4BDE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8E5AFD0-B671-FC7F-60EC-D2873DF9FE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5823" y="2322560"/>
            <a:ext cx="8052353" cy="286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935086"/>
      </p:ext>
    </p:extLst>
  </p:cSld>
  <p:clrMapOvr>
    <a:masterClrMapping/>
  </p:clrMapOvr>
  <p:transition spd="slow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52A05-BAAA-06F2-A19C-6A81D71B6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35C8A5F3-C041-E219-2410-57F00BFF1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صحح 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DA39E2C-7B92-818A-E79E-D6073DB3B0C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ED51BB3-03A0-F9C7-41FF-C89D38E434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0F57510-5823-0EDA-0ED9-5F3D50A964F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56E5AB6-53EA-E4C3-C0F9-479BD483D66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A859BC1-1F17-8FBE-65F0-A4B328ECFD23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0DB3AE-6E5C-1E7A-9385-E2BE0302A38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92F2CD-9815-09A6-A329-4DFE40060C1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5203C3-2BFE-35FC-0A6A-4522803FB04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7">
            <a:extLst>
              <a:ext uri="{FF2B5EF4-FFF2-40B4-BE49-F238E27FC236}">
                <a16:creationId xmlns:a16="http://schemas.microsoft.com/office/drawing/2014/main" id="{2AC7FF7B-26CD-936C-C9DB-12F96E67BF4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249BF8B-4702-D710-6AB9-23F1626713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5823" y="2322560"/>
            <a:ext cx="8052353" cy="286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0152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0EABB-45E2-77F7-58A6-93195F82B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A450D233-4A7B-4B80-38BB-B419BF919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أخطاءكم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159C2A7-CD47-8E51-517C-F200FDD2EF2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F07028B-AE1C-E7F4-5C85-21CD6B020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C680E9D-2C3D-6208-722A-ACD45185A2C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1E4BD4F-1A00-0DDC-DF46-0496854FE46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2300F34-232F-EB92-75E7-3333E69E85F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C70520-A240-7E42-6EA6-D19B7D14D1A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F95A1F-0928-3486-D07A-E78BECE6B56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FA3002-9F08-D5A0-9170-10650D4271B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FF850F78-1CE6-413F-1318-60BE52876D2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F38F4AE0-56BD-4A8E-073F-47F2366AD3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116" y="1544613"/>
            <a:ext cx="8718036" cy="496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118154"/>
      </p:ext>
    </p:extLst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9775A-8D76-CF57-5955-1354FC8A9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925499D3-2565-158B-BD2A-198C18A9DB1E}"/>
              </a:ext>
            </a:extLst>
          </p:cNvPr>
          <p:cNvGrpSpPr/>
          <p:nvPr/>
        </p:nvGrpSpPr>
        <p:grpSpPr>
          <a:xfrm>
            <a:off x="584403" y="1584325"/>
            <a:ext cx="6887970" cy="4897096"/>
            <a:chOff x="584403" y="1584325"/>
            <a:chExt cx="6887970" cy="4897096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739927A7-8619-811A-D811-E5B61E43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84403" y="1584793"/>
              <a:ext cx="3542148" cy="4896628"/>
            </a:xfrm>
            <a:prstGeom prst="rect">
              <a:avLst/>
            </a:prstGeom>
          </p:spPr>
        </p:pic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3E4C1F0E-6674-808F-BBC5-4E782F6DF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930226" y="1584325"/>
              <a:ext cx="3542147" cy="4879344"/>
            </a:xfrm>
            <a:prstGeom prst="rect">
              <a:avLst/>
            </a:prstGeom>
          </p:spPr>
        </p:pic>
      </p:grpSp>
      <p:sp>
        <p:nvSpPr>
          <p:cNvPr id="11" name="Titre 10">
            <a:extLst>
              <a:ext uri="{FF2B5EF4-FFF2-40B4-BE49-F238E27FC236}">
                <a16:creationId xmlns:a16="http://schemas.microsoft.com/office/drawing/2014/main" id="{FC7CCDDB-56BD-FCAA-1706-99D3D8EC4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: اِقرؤوا النص التالي: « 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رحلة في الصحراء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" قراءة صامتة ؛ بعد ذلك تجيبون عن أسئلة المعجم  و الفهم لديكم 15 دقيقة للإ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جاز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2D0E876-872B-9B94-9716-E73080B85DB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4C0E34F7-3226-625A-187F-2364C546C1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01109B6-CEFD-BF59-BE9F-0737084E4D8A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242C336-F151-C431-558F-730EB9C957E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4DD376F-FC94-8CF7-455E-448C9BFA85F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2198FC-0FD0-CB45-3BD4-D82343A93B7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15972-6CA1-1632-3721-42A323A75CF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D579A1-F247-4714-E9B7-4A21DB9EAA7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8" name="Espace réservé pour une image  14">
            <a:extLst>
              <a:ext uri="{FF2B5EF4-FFF2-40B4-BE49-F238E27FC236}">
                <a16:creationId xmlns:a16="http://schemas.microsoft.com/office/drawing/2014/main" id="{AE14DEB3-1753-95E5-063D-6884C940030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FF1D81AD-91EC-FB5A-DCC3-C2E9A95EBD6D}"/>
              </a:ext>
            </a:extLst>
          </p:cNvPr>
          <p:cNvSpPr/>
          <p:nvPr/>
        </p:nvSpPr>
        <p:spPr>
          <a:xfrm>
            <a:off x="4296310" y="5273675"/>
            <a:ext cx="2995863" cy="902368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EBD45CD6-07A1-FDDE-45EC-FA0BE1EA94BE}"/>
              </a:ext>
            </a:extLst>
          </p:cNvPr>
          <p:cNvSpPr/>
          <p:nvPr/>
        </p:nvSpPr>
        <p:spPr>
          <a:xfrm>
            <a:off x="864332" y="2053389"/>
            <a:ext cx="3065894" cy="2133599"/>
          </a:xfrm>
          <a:prstGeom prst="roundRect">
            <a:avLst>
              <a:gd name="adj" fmla="val 7992"/>
            </a:avLst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777264077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AF61C-07E0-582C-7F39-ED2B09135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43C92F56-A4A7-362B-E7B9-28345AE02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تقديم المساعدة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409CF86-D194-A22D-7EC7-85CA27D21F4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95EDA5C-E3A2-959A-5A18-70A993902F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BEEBBA1-9101-3E49-9192-59DCECE68E0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0BAE3C5-BD4B-CD72-4270-C45AC0E96D6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D13E2E7-6B11-22F2-30F2-028B6A607EC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256B1F-93C5-2A1E-0668-799DA6690A2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583855-B1A8-5993-333B-EB2499A1D70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6DEB68-7F7D-350C-751E-E0017DFB433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9" name="Espace réservé pour une image  18">
            <a:extLst>
              <a:ext uri="{FF2B5EF4-FFF2-40B4-BE49-F238E27FC236}">
                <a16:creationId xmlns:a16="http://schemas.microsoft.com/office/drawing/2014/main" id="{401B22DB-E347-42A1-508D-939835B88E4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BB4E449C-9425-A789-B494-8483EE8202E2}"/>
              </a:ext>
            </a:extLst>
          </p:cNvPr>
          <p:cNvGrpSpPr/>
          <p:nvPr/>
        </p:nvGrpSpPr>
        <p:grpSpPr>
          <a:xfrm>
            <a:off x="584403" y="1584325"/>
            <a:ext cx="6887970" cy="4897096"/>
            <a:chOff x="584403" y="1584325"/>
            <a:chExt cx="6887970" cy="4897096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F9B5E20A-94FB-EE18-533A-5828C3E874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84403" y="1584793"/>
              <a:ext cx="3542148" cy="4896628"/>
            </a:xfrm>
            <a:prstGeom prst="rect">
              <a:avLst/>
            </a:prstGeom>
          </p:spPr>
        </p:pic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BAAB073-AFDE-CCED-C8D0-FBC503FDD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930226" y="1584325"/>
              <a:ext cx="3542147" cy="4879344"/>
            </a:xfrm>
            <a:prstGeom prst="rect">
              <a:avLst/>
            </a:prstGeom>
          </p:spPr>
        </p:pic>
      </p:grp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C4FE4A87-CDCB-E181-37A3-317E368B7382}"/>
              </a:ext>
            </a:extLst>
          </p:cNvPr>
          <p:cNvSpPr/>
          <p:nvPr/>
        </p:nvSpPr>
        <p:spPr>
          <a:xfrm>
            <a:off x="4296310" y="5273675"/>
            <a:ext cx="2995863" cy="902368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9CE69917-A854-C223-1937-7A6E3564EF83}"/>
              </a:ext>
            </a:extLst>
          </p:cNvPr>
          <p:cNvSpPr/>
          <p:nvPr/>
        </p:nvSpPr>
        <p:spPr>
          <a:xfrm>
            <a:off x="864332" y="2053389"/>
            <a:ext cx="3065894" cy="2133599"/>
          </a:xfrm>
          <a:prstGeom prst="roundRect">
            <a:avLst>
              <a:gd name="adj" fmla="val 7992"/>
            </a:avLst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179553351"/>
      </p:ext>
    </p:extLst>
  </p:cSld>
  <p:clrMapOvr>
    <a:masterClrMapping/>
  </p:clrMapOvr>
  <p:transition spd="slow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E4A33F-D367-026D-8C83-C0D48B594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A91A9B51-CE66-68C4-FDC4-391A3B581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ان. من يجيب عن أسئلة المعجم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DF6978D-D3BA-922F-8197-A06AC111711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2CB7CC1-A67E-4E1B-9B5C-A5CDD0AA7E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500ECC0-ACFC-0516-3C8D-A004D64E5B8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62D2D59-9E38-DAC5-C3FD-92FB9A121C3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D00A036-8D49-FABE-A00E-9ACA08EF4A0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9B5374-4B6F-2B6E-E2BA-846DDFBAE12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D5C7886-CDC7-547A-20E3-0C3A68407D5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C01E4E-137B-8C57-1D64-F30F67CC44C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id="{D6701E06-BB57-133C-2F07-F781377803B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1994D7F-EA14-409C-E75B-FAFB99C9C7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9589" y="2237874"/>
            <a:ext cx="8064821" cy="315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552760"/>
      </p:ext>
    </p:extLst>
  </p:cSld>
  <p:clrMapOvr>
    <a:masterClrMapping/>
  </p:clrMapOvr>
  <p:transition spd="slow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8DCDE5-BC5B-DFC9-9083-77EA926BD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8BFBF3C5-38D0-EBB0-53D8-B525A0330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547A3AA-DC48-3905-AC9D-159112CFA25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96CF70B-6F91-FE0E-72E4-237CD07376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A6D15C1-6E3C-A445-CDF1-0830EC660BC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B16458B-5AA9-B2FD-8FAC-C6234273DEC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4AC804-1E86-D8B8-1E9C-AF9D49334EA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5D56FC-AD39-2CAB-8110-D67309C7A48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D3FD07-1F23-85CE-D268-EFFF1B0E4C8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03C5AA1-379B-1C66-AAE2-82B16D1D0978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C5CADF7F-6FCB-6070-AFDA-47AF0174ED6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A9ACA979-C73D-AE18-C5AB-769D67DF21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9589" y="2237874"/>
            <a:ext cx="8064821" cy="3152274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0C476961-FB24-C15C-5FDF-1017AAD33DC7}"/>
              </a:ext>
            </a:extLst>
          </p:cNvPr>
          <p:cNvSpPr txBox="1"/>
          <p:nvPr/>
        </p:nvSpPr>
        <p:spPr>
          <a:xfrm>
            <a:off x="2900373" y="2721114"/>
            <a:ext cx="4572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سَيّارَةٌ</a:t>
            </a: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 -   </a:t>
            </a: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َسارٌ - </a:t>
            </a: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 </a:t>
            </a: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َسيرَةٌ</a:t>
            </a:r>
            <a:endParaRPr kumimoji="0" lang="fr-FR" sz="4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75C3779-BB3A-DB9C-28EC-7A6079DE933E}"/>
              </a:ext>
            </a:extLst>
          </p:cNvPr>
          <p:cNvSpPr txBox="1"/>
          <p:nvPr/>
        </p:nvSpPr>
        <p:spPr>
          <a:xfrm>
            <a:off x="6528347" y="3921720"/>
            <a:ext cx="10785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تاهَ</a:t>
            </a:r>
            <a:endParaRPr lang="fr-FR" sz="44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CB4536A-6D8A-7ADD-5221-C5FDD256DE6C}"/>
              </a:ext>
            </a:extLst>
          </p:cNvPr>
          <p:cNvSpPr txBox="1"/>
          <p:nvPr/>
        </p:nvSpPr>
        <p:spPr>
          <a:xfrm>
            <a:off x="852298" y="3921718"/>
            <a:ext cx="13128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َسالِكُ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528686DA-2FB0-6CF6-38A8-527ABAAAA40F}"/>
              </a:ext>
            </a:extLst>
          </p:cNvPr>
          <p:cNvSpPr txBox="1"/>
          <p:nvPr/>
        </p:nvSpPr>
        <p:spPr>
          <a:xfrm>
            <a:off x="3640391" y="3921719"/>
            <a:ext cx="10785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عَزَمَ</a:t>
            </a:r>
            <a:endParaRPr lang="fr-FR" sz="44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85534-049B-980B-8CEB-26263E829694}"/>
              </a:ext>
            </a:extLst>
          </p:cNvPr>
          <p:cNvSpPr txBox="1"/>
          <p:nvPr/>
        </p:nvSpPr>
        <p:spPr>
          <a:xfrm>
            <a:off x="6557310" y="4451568"/>
            <a:ext cx="13128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حَرُّ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9E45C0C3-94D3-ADE7-2CFE-80BCD661BE34}"/>
              </a:ext>
            </a:extLst>
          </p:cNvPr>
          <p:cNvSpPr txBox="1"/>
          <p:nvPr/>
        </p:nvSpPr>
        <p:spPr>
          <a:xfrm>
            <a:off x="4656038" y="4451569"/>
            <a:ext cx="13128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شّاسِعُ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2E272A30-5E3C-8A0E-6CDE-26B35C6D1C0A}"/>
              </a:ext>
            </a:extLst>
          </p:cNvPr>
          <p:cNvSpPr txBox="1"/>
          <p:nvPr/>
        </p:nvSpPr>
        <p:spPr>
          <a:xfrm>
            <a:off x="463880" y="4451995"/>
            <a:ext cx="13128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رّاحَةُ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66EEF81-1E68-1909-3DCC-24A0BEE3610C}"/>
              </a:ext>
            </a:extLst>
          </p:cNvPr>
          <p:cNvSpPr txBox="1"/>
          <p:nvPr/>
        </p:nvSpPr>
        <p:spPr>
          <a:xfrm>
            <a:off x="2542988" y="4451569"/>
            <a:ext cx="13128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غُروبُ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66452103"/>
      </p:ext>
    </p:extLst>
  </p:cSld>
  <p:clrMapOvr>
    <a:masterClrMapping/>
  </p:clrMapOvr>
  <p:transition spd="slow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184E81-CAE0-EBDF-B10F-D81A3BE32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15370B1C-32F3-2303-E352-5A3F400AA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تصحيح أسئلة الفهم  من يقرأ جوابه. كيف تمكنتم من الإجابة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5FA572C-0E48-8435-1BD9-C73942723B4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F74E2E3-0435-F00C-11E2-E2701A83E4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EF2ABCB-37D9-C942-FE05-C6DD8041769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D4B26A1-BDE3-C879-5769-168A3F59CCE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F99E8FC-7473-C987-3F96-C1480DC20D6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2AF66F-592B-AC96-E6BE-059C95B2904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5789A6-1CD2-A74A-D3DD-187309AEB3F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5BA884-FF3E-8570-0E87-BA0F31697DF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443CA6DE-28E0-A023-3C5E-5CA69EEC106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CF16C07-5C51-DFD8-2AD1-8FBC36CB6F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5642" y="1853731"/>
            <a:ext cx="7606831" cy="481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871076"/>
      </p:ext>
    </p:extLst>
  </p:cSld>
  <p:clrMapOvr>
    <a:masterClrMapping/>
  </p:clrMapOvr>
  <p:transition spd="slow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8B240-EB73-E3EE-8FFD-8D5B8093CB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BC90E167-2B9D-BFC8-67C9-BE4EBEF17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632E96F-971A-1B27-96C2-541CB19BB59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C473258-C219-6115-E205-83CC504959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E341F43-2507-13C4-F3AB-8D78D1FB4C8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EBC43DA-3D6A-D610-2FF1-5BEEBEEE2A8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72C84D0-979D-93B3-D90E-04A2A152104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616CAE-E638-C845-A0A6-9530F1A699E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BDDAE6-2D54-04A7-8647-C480CD6CFFB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95A98A-A302-8BD0-97D6-01540B5FC922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778DA5B7-28B3-2102-24C5-3CC76D3550E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C63CB2F6-DE34-C786-8CC3-AD10F64407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9823" y="2014032"/>
            <a:ext cx="7924353" cy="3620637"/>
          </a:xfrm>
          <a:prstGeom prst="rect">
            <a:avLst/>
          </a:prstGeom>
        </p:spPr>
      </p:pic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5B566A9E-3B69-6D4E-F897-ED0BDDA9FA61}"/>
              </a:ext>
            </a:extLst>
          </p:cNvPr>
          <p:cNvSpPr/>
          <p:nvPr/>
        </p:nvSpPr>
        <p:spPr>
          <a:xfrm>
            <a:off x="113612" y="2378159"/>
            <a:ext cx="8552912" cy="925452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اهَ سالِمٌ في ٱلصَّحْراءِ لَمّا </a:t>
            </a:r>
            <a:r>
              <a:rPr kumimoji="0" lang="ar-MA" sz="40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ٱنْفَصَلَ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عَنْ أَصْحابِهِ حينَما كانَ يُطارِدُ غَزالاً</a:t>
            </a:r>
            <a:endParaRPr kumimoji="0" lang="fr-FR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8D74ED-DD1A-6E81-D77D-96C53DBB78DE}"/>
              </a:ext>
            </a:extLst>
          </p:cNvPr>
          <p:cNvSpPr txBox="1"/>
          <p:nvPr/>
        </p:nvSpPr>
        <p:spPr>
          <a:xfrm>
            <a:off x="89127" y="3731626"/>
            <a:ext cx="841436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ِخْتارَ سالِمٌ ٱلْبَقاءَ تَحْتَ ٱلصَّخْرَةِ لِيَحْتَمِيَ بِظِلِّها مِنْ شِدَّةِ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حَرِّ</a:t>
            </a:r>
            <a:r>
              <a:rPr kumimoji="0" lang="ar-MA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.</a:t>
            </a:r>
            <a:endParaRPr kumimoji="0" lang="fr-FR" sz="4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CB8C699-D62B-17D7-A676-C0FC7BF16E32}"/>
              </a:ext>
            </a:extLst>
          </p:cNvPr>
          <p:cNvSpPr txBox="1"/>
          <p:nvPr/>
        </p:nvSpPr>
        <p:spPr>
          <a:xfrm>
            <a:off x="195127" y="4957262"/>
            <a:ext cx="838988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يَدُلُّ ٱسْتِقْبالُ سالِمٍ وَتَقْديمُ ٱلْماءِ وَٱلطَّعامِ لَهُ عَلى كَرَمِ أَهْلِ ٱلصَّحْراءِ.</a:t>
            </a:r>
            <a:endParaRPr kumimoji="0" lang="fr-FR" sz="4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49846468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Espace réservé pour une image  30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273DC75A-2015-19E1-1E39-E1663D38576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pic>
        <p:nvPicPr>
          <p:cNvPr id="29" name="Espace réservé pour une image  28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CEF1EEB-1F40-EA99-607B-F22A6821DC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>
            <a:fillRect/>
          </a:stretch>
        </p:blipFill>
        <p:spPr/>
      </p:pic>
      <p:pic>
        <p:nvPicPr>
          <p:cNvPr id="35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FF93AB83-9CA3-5F80-6D06-9BC5A29C6ED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/>
          <a:srcRect/>
          <a:stretch>
            <a:fillRect/>
          </a:stretch>
        </p:blipFill>
        <p:spPr/>
      </p:pic>
      <p:pic>
        <p:nvPicPr>
          <p:cNvPr id="33" name="Espace réservé pour une image  32" descr="Une image contenant dessin humoristique, Dessin animé, Animation, clipart&#10;&#10;Le contenu généré par l’IA peut être incorrect.">
            <a:extLst>
              <a:ext uri="{FF2B5EF4-FFF2-40B4-BE49-F238E27FC236}">
                <a16:creationId xmlns:a16="http://schemas.microsoft.com/office/drawing/2014/main" id="{48E3DEC7-EDF8-3A04-93CB-4981563836C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/>
          <a:stretch>
            <a:fillRect/>
          </a:stretch>
        </p:blipFill>
        <p:spPr/>
      </p:pic>
      <p:pic>
        <p:nvPicPr>
          <p:cNvPr id="14" name="Espace réservé pour une image  13" descr="Une image contenant capture d’écran, Graphique, Bleu électrique, conception&#10;&#10;Le contenu généré par l’IA peut être incorrect.">
            <a:extLst>
              <a:ext uri="{FF2B5EF4-FFF2-40B4-BE49-F238E27FC236}">
                <a16:creationId xmlns:a16="http://schemas.microsoft.com/office/drawing/2014/main" id="{6A61E3F4-6777-A2C5-4DDB-664D3F42A61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/>
          <a:srcRect/>
          <a:stretch/>
        </p:blipFill>
        <p:spPr/>
      </p:pic>
      <p:sp>
        <p:nvSpPr>
          <p:cNvPr id="21" name="Espace réservé pour une image  20">
            <a:extLst>
              <a:ext uri="{FF2B5EF4-FFF2-40B4-BE49-F238E27FC236}">
                <a16:creationId xmlns:a16="http://schemas.microsoft.com/office/drawing/2014/main" id="{A2246453-977E-1804-FB4B-6EF5DA943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B930BFD-D933-1735-B8A7-CC562C90B0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عيين تلميذ(ة) للإجابة</a:t>
            </a:r>
            <a:endParaRPr lang="fr-MA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8996AF3B-A528-4707-FCB6-B291F8C7C0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وجيهات و شرح التعليمات</a:t>
            </a:r>
            <a:endParaRPr lang="fr-MA" dirty="0"/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9905370-11BD-3654-8734-1BB5729C31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رض فيديو</a:t>
            </a:r>
            <a:endParaRPr lang="fr-MA" dirty="0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2DE2D423-DFDD-F18A-A3B9-AFF3B3B8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المرور بين الصفوف للمساعدة و تصحيح الإنجازات</a:t>
            </a:r>
            <a:endParaRPr lang="fr-MA" dirty="0"/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FE3F5F3B-8967-6834-358B-508ACECF21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مل في ثنائيات</a:t>
            </a:r>
            <a:endParaRPr lang="fr-MA" dirty="0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E4065A23-EDF8-69CB-1A07-FBB4DE2BB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نهاية الشريط، المرور إلى الشريحة الموالية.</a:t>
            </a:r>
            <a:endParaRPr lang="fr-MA" dirty="0"/>
          </a:p>
        </p:txBody>
      </p:sp>
      <p:pic>
        <p:nvPicPr>
          <p:cNvPr id="16" name="Image 15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7376C046-DDA7-71FD-0BA2-C6C915112E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757053" y="4245868"/>
            <a:ext cx="996593" cy="99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4875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056847-5FDF-250B-EACB-2DD11E13C1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B27C4A4A-2755-9657-C94A-9F4A1C438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D9CB2CC-1EF9-EE2C-95CE-02D919AF4EB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CB702A2-C18B-C3E4-8C04-19E470E68B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03655EC-FC8E-2576-CF49-3D99C36AD5A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EE31C93-7B78-ADF7-AF0F-5EA49B956F6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A7589FD-E67F-A9B5-41A5-93229BA4E17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E1E48D-6BC0-9C6D-7EDC-4949816DF10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A703EB-F113-7F3D-8D0E-CD6E8C28DF9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ECF002-9738-7EBE-256E-87C5E0DF183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10A18631-38A3-BBAF-2564-EC52B0A1AD7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C69264BA-F182-8C5E-1EF7-3FC8CA481C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772" t="43977" r="-500" b="233"/>
          <a:stretch/>
        </p:blipFill>
        <p:spPr>
          <a:xfrm>
            <a:off x="479354" y="2225742"/>
            <a:ext cx="8185291" cy="3588573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B2CB9FD2-D876-4504-4C13-2489E020392B}"/>
              </a:ext>
            </a:extLst>
          </p:cNvPr>
          <p:cNvSpPr txBox="1"/>
          <p:nvPr/>
        </p:nvSpPr>
        <p:spPr>
          <a:xfrm>
            <a:off x="6857999" y="4393852"/>
            <a:ext cx="7710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1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0981927-8D80-67BE-3850-DB5B379A678E}"/>
              </a:ext>
            </a:extLst>
          </p:cNvPr>
          <p:cNvSpPr txBox="1"/>
          <p:nvPr/>
        </p:nvSpPr>
        <p:spPr>
          <a:xfrm>
            <a:off x="6857999" y="2719528"/>
            <a:ext cx="7710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2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11BFC67-BE23-FFF0-4C2B-433A23BC545B}"/>
              </a:ext>
            </a:extLst>
          </p:cNvPr>
          <p:cNvSpPr txBox="1"/>
          <p:nvPr/>
        </p:nvSpPr>
        <p:spPr>
          <a:xfrm>
            <a:off x="6857999" y="3339981"/>
            <a:ext cx="7710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3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5187E92-294D-2EB9-313C-D6496884E904}"/>
              </a:ext>
            </a:extLst>
          </p:cNvPr>
          <p:cNvSpPr txBox="1"/>
          <p:nvPr/>
        </p:nvSpPr>
        <p:spPr>
          <a:xfrm>
            <a:off x="6857999" y="4986101"/>
            <a:ext cx="7710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4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BA6864F4-C6C1-B3F6-3C0E-25294E37C177}"/>
              </a:ext>
            </a:extLst>
          </p:cNvPr>
          <p:cNvSpPr txBox="1"/>
          <p:nvPr/>
        </p:nvSpPr>
        <p:spPr>
          <a:xfrm>
            <a:off x="6885120" y="3832284"/>
            <a:ext cx="7710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5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66577219"/>
      </p:ext>
    </p:extLst>
  </p:cSld>
  <p:clrMapOvr>
    <a:masterClrMapping/>
  </p:clrMapOvr>
  <p:transition spd="slow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55FA9-0997-13D1-741F-3FE65B776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6FB901D6-93B8-F445-4C20-98C2FF2B7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دائما على كراساتكم الصفحة 47 أنجزوا الأنشطة التالي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1C831AF-9A5D-C704-E25A-06835459C28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1FBD861-84E5-F948-D401-F07DB4284C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BF540BB-A94D-AADE-AE5E-D97F8AC0BB0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EE79F2F-2CB6-37BE-A821-514E8E3B975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765BA18-0E5F-298F-7205-139A1BEA95A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C1E9FA-BFF5-A66D-4E90-2378EFC6AB8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91DF6D-5CF5-9A8F-FD13-41892B4D0A9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E1527B-9889-2282-B5F0-A683105B3DE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D9A29FEF-ADAE-D342-3CB8-E964D63668B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36BE530-48D9-FBE7-ADF5-ED96420845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209" y="1584325"/>
            <a:ext cx="7011008" cy="4854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692832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7A4D6-47DF-6C13-9AEB-B26B5AA55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2901126F-521B-CAB0-10ED-D3DE50C46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م الصفوف لمساعدتكم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A057430-D0C4-48F5-D4F3-194F041568D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7868A64-59FC-A409-2D53-37E5C64CBD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4CFE0E8-BB0E-90C7-FA5F-90FF3C297C0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D145189-4A84-68AF-4E61-2AC7EFC11AC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862AC2-6EAD-6F4B-DA0A-DA2D7E4D206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0B4D20-2DEF-558D-0A67-758F52ADA29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A78792-3678-81E6-5E68-137ED3C44A2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CD3327-637F-020B-E5CC-9248C79068B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5">
            <a:extLst>
              <a:ext uri="{FF2B5EF4-FFF2-40B4-BE49-F238E27FC236}">
                <a16:creationId xmlns:a16="http://schemas.microsoft.com/office/drawing/2014/main" id="{A14EAC84-96C5-04C7-E64E-6B02B893A1B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1291871-7386-807D-B795-F272192582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209" y="1584325"/>
            <a:ext cx="7011008" cy="4854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754083"/>
      </p:ext>
    </p:extLst>
  </p:cSld>
  <p:clrMapOvr>
    <a:masterClrMapping/>
  </p:clrMapOvr>
  <p:transition spd="slow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4C6627-0805-94E6-4CFD-82D78033A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1EDF0095-8656-FD32-D0F8-42AA53FEC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دم لنا جوابه عن السؤال الخامس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33BAD21-0D8D-6573-D47B-8567C170DE9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DC9D377-AE34-CBAE-21C1-6A66EA8097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305F918-13F4-B533-9449-8AEBB9B374C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FC24668-1CE8-2BD9-66AA-2AA303B48C5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00073A3-D109-CBCC-88DA-B3689760E43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D2467D-5744-46CD-4195-D8394E56510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84EE88-042C-F406-547D-29ADC38618D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36394F-F285-AF31-1CD1-B6C116BCA8C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0FC03BB7-FEC3-2035-BCF9-B39B28911D8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162F960-100A-E039-83CB-75DA374E95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8916" y="2220905"/>
            <a:ext cx="8482889" cy="290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427950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DEF58-23F9-CD68-6F54-5AFE76EF1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90B843E5-B610-79E4-86EB-CCDCB095C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رأ؟ من يقترح حملا أخرى؟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3E65B19-2FB6-A21E-29C0-F03AF4FD9CA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55C7519-C728-7951-2F00-7BB2BD4DA0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0012C2B-A58A-0804-0B92-0999410F768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B25E9D8-0920-814D-CE42-0948BB72BCC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8685E66-F1B1-7BB0-C00F-6F207BCFBE9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A3310B-0217-8EA3-630A-980D46AB64B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B06B33-8260-2B7F-4908-7015F122090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0362331-A7D4-C47C-7F94-0CAC1E561A6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23" name="Espace réservé pour une image  22">
            <a:extLst>
              <a:ext uri="{FF2B5EF4-FFF2-40B4-BE49-F238E27FC236}">
                <a16:creationId xmlns:a16="http://schemas.microsoft.com/office/drawing/2014/main" id="{8AB90634-C91A-D93A-ADDA-EB42C16249D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922AA8E-C387-3E37-D4F1-18B67170B1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8916" y="2220905"/>
            <a:ext cx="8482889" cy="2904548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0BFCA7EC-71B7-A1EB-1857-EC0A53A31C2B}"/>
              </a:ext>
            </a:extLst>
          </p:cNvPr>
          <p:cNvSpPr txBox="1"/>
          <p:nvPr/>
        </p:nvSpPr>
        <p:spPr>
          <a:xfrm>
            <a:off x="5585800" y="4326557"/>
            <a:ext cx="12369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مُضارعُ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24C33A8-AC4A-1387-EFCA-7A6F6092AD4E}"/>
              </a:ext>
            </a:extLst>
          </p:cNvPr>
          <p:cNvSpPr txBox="1"/>
          <p:nvPr/>
        </p:nvSpPr>
        <p:spPr>
          <a:xfrm>
            <a:off x="5729413" y="3590498"/>
            <a:ext cx="1093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ماضي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59A04BC1-CA4C-5F27-579A-48CB0ABCC444}"/>
              </a:ext>
            </a:extLst>
          </p:cNvPr>
          <p:cNvSpPr txBox="1"/>
          <p:nvPr/>
        </p:nvSpPr>
        <p:spPr>
          <a:xfrm>
            <a:off x="2376670" y="3588399"/>
            <a:ext cx="2687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َدَّمَ الْفُكاهِيُّ عَرْضَهُ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.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503ADC16-5B24-FBC7-B850-A4B0F92727F3}"/>
              </a:ext>
            </a:extLst>
          </p:cNvPr>
          <p:cNvSpPr txBox="1"/>
          <p:nvPr/>
        </p:nvSpPr>
        <p:spPr>
          <a:xfrm>
            <a:off x="606622" y="4338017"/>
            <a:ext cx="4979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يَسْتَطيعُ كُلُّ إِنْسانٍ أَنْ يَكونَ مُواطِناٌ صالحاً.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56054337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CBC25-41B0-B25F-5ABF-953F86E71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B23838AD-9B06-DADC-D951-EFDBF8C2F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دم لنا جوابه عن السؤال السادس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EBFFB9C-2C72-6C1C-F759-A7ED9978EB0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3ADEF35-8B4E-3DC5-E69F-3BEE1289D2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B062178-EFDD-36BE-4E9F-B40B0EEA737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0621791-E689-88DD-B5A7-6CFBA81B431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21ACAC-F409-BBB3-8E68-3FF9FCE2477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FAA759-B093-26A0-86C0-4700046FC30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BD99ED-775E-9CA7-9BFC-D8E9103F271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C4DFA3-1BBE-4334-4324-49FCC57D696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id="{44590E9D-3F80-4DE2-ED3F-327E5039DD6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4175519-5ADB-FF09-84C2-D287F7CD39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5011" y="2324685"/>
            <a:ext cx="8417752" cy="3777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778250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EFCDF6-2ED2-9104-CA16-14A9EBFB2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473208CC-A941-B9A2-A8DD-3124511D8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8DD45AB-A6A0-0F86-18A2-EA97C515BB1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1357AB8-200C-8EDA-334B-F9A23C2639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C2C07D1-0584-7EB9-3239-C0170C28B86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57C6B18-78C1-E334-9AAB-897030FF8FF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8D381B0-EE34-EEA5-F1A4-4CD08B12640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0627CB-9CB5-81CE-E675-0EB9BCDAF5CB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209844-4754-F9FA-6165-2776D35A59C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255984-68D7-AB97-D93A-92255506BB9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id="{B43F8C60-9AE1-13CC-D41C-0500F36FC53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8867F33-E9A1-19B0-7A03-FDF84DDDEF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3124" y="2072022"/>
            <a:ext cx="8417752" cy="377731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DE1942DA-A752-66A5-348D-C73370FFA56C}"/>
              </a:ext>
            </a:extLst>
          </p:cNvPr>
          <p:cNvSpPr txBox="1"/>
          <p:nvPr/>
        </p:nvSpPr>
        <p:spPr>
          <a:xfrm>
            <a:off x="4267925" y="4348337"/>
            <a:ext cx="35644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بَدآ رِحْلَتَهُما في ﭐلصَّحْراءِ.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F956A35-0214-BCB2-4943-F8EBDB5EFAB3}"/>
              </a:ext>
            </a:extLst>
          </p:cNvPr>
          <p:cNvSpPr txBox="1"/>
          <p:nvPr/>
        </p:nvSpPr>
        <p:spPr>
          <a:xfrm>
            <a:off x="4157275" y="4725064"/>
            <a:ext cx="35644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يَبْدَأْنَ رِحْلَتَهُنَّ في ﭐلصَّحْراءِ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.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6D91338-A5E6-FC73-4801-F546BC6C2BED}"/>
              </a:ext>
            </a:extLst>
          </p:cNvPr>
          <p:cNvSpPr txBox="1"/>
          <p:nvPr/>
        </p:nvSpPr>
        <p:spPr>
          <a:xfrm>
            <a:off x="4021073" y="5310958"/>
            <a:ext cx="35644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ِبْدَأْ رِحْلَتَكَ في ﭐلصَّحْراءِ.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A779FC9-D4EC-95B4-B03D-E66D8547E06B}"/>
              </a:ext>
            </a:extLst>
          </p:cNvPr>
          <p:cNvSpPr txBox="1"/>
          <p:nvPr/>
        </p:nvSpPr>
        <p:spPr>
          <a:xfrm>
            <a:off x="4613334" y="2887014"/>
            <a:ext cx="3429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الَتْ نَصيباً مِنَ </a:t>
            </a:r>
            <a:r>
              <a:rPr kumimoji="0" lang="ar-MA" sz="36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ﭐلرّاحَةِ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.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78535F2D-6151-88F5-DC49-F1FA5F321A90}"/>
              </a:ext>
            </a:extLst>
          </p:cNvPr>
          <p:cNvSpPr txBox="1"/>
          <p:nvPr/>
        </p:nvSpPr>
        <p:spPr>
          <a:xfrm>
            <a:off x="5321903" y="3361938"/>
            <a:ext cx="2687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الَا نَصيباً مِنَ </a:t>
            </a:r>
            <a:r>
              <a:rPr kumimoji="0" lang="ar-MA" sz="36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ﭐلرّاحَةِ</a:t>
            </a:r>
            <a:r>
              <a:rPr kumimoji="0" lang="ar-MA" sz="3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.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0225254"/>
      </p:ext>
    </p:extLst>
  </p:cSld>
  <p:clrMapOvr>
    <a:masterClrMapping/>
  </p:clrMapOvr>
  <p:transition spd="slow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CF985-FD44-284B-1EF4-455AC5E6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BD78FFDB-B479-91B6-318E-6F279EADD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EF3FC7D3-16E7-32AB-47D1-DFBED1F025E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25259" y="1983798"/>
            <a:ext cx="799263" cy="792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71F05B45-4F3B-4AC0-FD76-415805DB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/>
          <a:lstStyle/>
          <a:p>
            <a:pPr lvl="0">
              <a:defRPr/>
            </a:pPr>
            <a:r>
              <a:rPr lang="ar-MA" dirty="0">
                <a:solidFill>
                  <a:srgbClr val="424D7B"/>
                </a:solidFill>
              </a:rPr>
              <a:t>ورشة القراءة – القراءة الاثرائية</a:t>
            </a:r>
          </a:p>
        </p:txBody>
      </p:sp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id="{1C85B691-E8E6-CBFE-8F93-727DFAC3558A}"/>
              </a:ext>
            </a:extLst>
          </p:cNvPr>
          <p:cNvSpPr txBox="1">
            <a:spLocks/>
          </p:cNvSpPr>
          <p:nvPr/>
        </p:nvSpPr>
        <p:spPr>
          <a:xfrm>
            <a:off x="2267712" y="3158999"/>
            <a:ext cx="4964709" cy="540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الجار الخائن –  الجزء الثاني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BC60C81-D7D7-2EAD-6045-0B3B679B5792}"/>
              </a:ext>
            </a:extLst>
          </p:cNvPr>
          <p:cNvSpPr txBox="1"/>
          <p:nvPr/>
        </p:nvSpPr>
        <p:spPr>
          <a:xfrm>
            <a:off x="3903631" y="1807822"/>
            <a:ext cx="33287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  </a:t>
            </a:r>
            <a:r>
              <a:rPr lang="ar-MA" sz="32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 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– الحصة 1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8A26902-CB9B-E0A7-9630-544065E8BF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8925" y="956399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FC29E67-571F-D711-0DE7-6260A08393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478" y="1532399"/>
            <a:ext cx="540000" cy="62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655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6A7751-BC4C-6B4F-E930-19E88599FD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7BA6BFC-6F29-D205-B347-7802CF068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40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هيكلة حصة اليوم</a:t>
            </a:r>
            <a:endParaRPr lang="fr-MA" sz="40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09E51D4-456F-F068-7C08-A78B67264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61111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DB62A39-E404-421B-9104-A05D0961DB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04787" y="1851798"/>
            <a:ext cx="544953" cy="54000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B3F8D0D6-E0C7-06E1-466A-EA18AB31C944}"/>
              </a:ext>
            </a:extLst>
          </p:cNvPr>
          <p:cNvSpPr txBox="1"/>
          <p:nvPr/>
        </p:nvSpPr>
        <p:spPr>
          <a:xfrm>
            <a:off x="4623311" y="1749787"/>
            <a:ext cx="177951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FA367364-D167-4FE1-2790-C65399AF2A76}"/>
              </a:ext>
            </a:extLst>
          </p:cNvPr>
          <p:cNvSpPr txBox="1">
            <a:spLocks/>
          </p:cNvSpPr>
          <p:nvPr/>
        </p:nvSpPr>
        <p:spPr>
          <a:xfrm>
            <a:off x="1882949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دقيقة الكتابة</a:t>
            </a:r>
          </a:p>
        </p:txBody>
      </p:sp>
      <p:pic>
        <p:nvPicPr>
          <p:cNvPr id="2" name="Image 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088FBF13-90C9-A31E-E171-2C35BEBBA6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331" y="4183222"/>
            <a:ext cx="5436000" cy="1405870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1CBC2E27-D2C0-D4C0-CA0F-C93BFD302377}"/>
              </a:ext>
            </a:extLst>
          </p:cNvPr>
          <p:cNvSpPr txBox="1">
            <a:spLocks/>
          </p:cNvSpPr>
          <p:nvPr/>
        </p:nvSpPr>
        <p:spPr>
          <a:xfrm>
            <a:off x="1855803" y="4683613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rtl="1">
              <a:buClr>
                <a:srgbClr val="424D7B"/>
              </a:buClr>
            </a:pPr>
            <a:r>
              <a:rPr lang="ar-MA" sz="18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صحن الصغير - الحصة 2 – قراءة الجزء الثاني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C5B121E-C23C-D9D4-3A07-138F5A33240E}"/>
              </a:ext>
            </a:extLst>
          </p:cNvPr>
          <p:cNvSpPr txBox="1"/>
          <p:nvPr/>
        </p:nvSpPr>
        <p:spPr>
          <a:xfrm>
            <a:off x="4863617" y="4345033"/>
            <a:ext cx="15392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 03 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167EF5D-04A9-B014-ED36-08EF1751B53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487824" y="4395318"/>
            <a:ext cx="424748" cy="540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EFBE257-D940-FE35-74D9-5DF925C296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5055" y="308625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D0803AF-8090-A95E-BEAE-D04AEE9CD0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3037" y="3143279"/>
            <a:ext cx="536340" cy="54000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7434FA73-09B5-E76E-5B23-857C3B356D59}"/>
              </a:ext>
            </a:extLst>
          </p:cNvPr>
          <p:cNvSpPr txBox="1"/>
          <p:nvPr/>
        </p:nvSpPr>
        <p:spPr>
          <a:xfrm>
            <a:off x="4953843" y="3098805"/>
            <a:ext cx="14750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8A34C078-3374-3EC9-AD66-605CA62FCDE1}"/>
              </a:ext>
            </a:extLst>
          </p:cNvPr>
          <p:cNvSpPr txBox="1">
            <a:spLocks/>
          </p:cNvSpPr>
          <p:nvPr/>
        </p:nvSpPr>
        <p:spPr>
          <a:xfrm>
            <a:off x="1912505" y="341343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شكل وفهم</a:t>
            </a:r>
          </a:p>
        </p:txBody>
      </p:sp>
      <p:pic>
        <p:nvPicPr>
          <p:cNvPr id="16" name="Espace réservé pour une image  20">
            <a:extLst>
              <a:ext uri="{FF2B5EF4-FFF2-40B4-BE49-F238E27FC236}">
                <a16:creationId xmlns:a16="http://schemas.microsoft.com/office/drawing/2014/main" id="{B6EA34D9-BA79-97EB-C1F5-8A57A6D66C50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1524522" y="1643415"/>
            <a:ext cx="468000" cy="468000"/>
          </a:xfrm>
          <a:prstGeom prst="rect">
            <a:avLst/>
          </a:prstGeom>
        </p:spPr>
      </p:pic>
      <p:pic>
        <p:nvPicPr>
          <p:cNvPr id="17" name="Espace réservé pour une image  20">
            <a:extLst>
              <a:ext uri="{FF2B5EF4-FFF2-40B4-BE49-F238E27FC236}">
                <a16:creationId xmlns:a16="http://schemas.microsoft.com/office/drawing/2014/main" id="{D4678864-4A26-F568-936B-996F422B02B0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1524522" y="2934034"/>
            <a:ext cx="468000" cy="468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2110080-F962-6813-FB50-4289080FE6D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7784" y="4173251"/>
            <a:ext cx="394738" cy="4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759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7ACAF-A68C-4C03-DF04-C9211C511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F9403CB-D969-3A49-81B3-B1D9730B5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6715" y="1864520"/>
            <a:ext cx="3128830" cy="3809011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54319FB4-DF06-0E23-9F31-47A24DE65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يوم سنواصل قراءة قصة جديدة. من يذكرنا بالعناصر التي تساعدنا على التعرف على القصة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41FC96C-5225-A586-CE19-E8C100F9059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6218F91-16A4-8551-EB87-3B790C635AB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58342D9-EE81-F25D-5841-F338DA7FEB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41E5396-2AA7-46B9-500D-4B739C7046A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63E2E30-72A2-E844-7BC6-D1457F1F02B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0C99C2-D9E2-0727-80AA-5200934B9F2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BA1C81-A5BD-46F4-2E74-7C2BE3751FA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F6926D-BFDE-B878-97D5-43274511096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id="{757DB0B5-40DA-5904-2710-BEAC17574FF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86589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F4D6D-C7BC-2611-FAE1-6E5C4FAF5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831E7713-5025-4EA6-8909-CA2D46FBA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1008000"/>
            <a:ext cx="7886700" cy="720000"/>
          </a:xfrm>
        </p:spPr>
        <p:txBody>
          <a:bodyPr>
            <a:normAutofit/>
          </a:bodyPr>
          <a:lstStyle/>
          <a:p>
            <a:r>
              <a:rPr lang="ar-MA" sz="40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تنظيم حصص الأسبوع</a:t>
            </a:r>
            <a:r>
              <a:rPr lang="fr-FR" sz="40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أول</a:t>
            </a:r>
            <a:endParaRPr lang="fr-MA" sz="40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637CFE2-124B-68CA-19C5-E683FF964653}"/>
              </a:ext>
            </a:extLst>
          </p:cNvPr>
          <p:cNvGrpSpPr/>
          <p:nvPr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0F1CD75D-62C9-62B2-F98F-828DDB2C3FEB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13" name="Organigramme : Terminateur 12">
              <a:extLst>
                <a:ext uri="{FF2B5EF4-FFF2-40B4-BE49-F238E27FC236}">
                  <a16:creationId xmlns:a16="http://schemas.microsoft.com/office/drawing/2014/main" id="{A6CA9463-8B89-0E23-E66F-C965C3F850A0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CF280F48-783D-0D98-0694-67A57FB53C64}"/>
              </a:ext>
            </a:extLst>
          </p:cNvPr>
          <p:cNvGrpSpPr/>
          <p:nvPr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F71B72DA-899C-A35E-3E68-648807C22E6D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19" name="Organigramme : Terminateur 18">
              <a:extLst>
                <a:ext uri="{FF2B5EF4-FFF2-40B4-BE49-F238E27FC236}">
                  <a16:creationId xmlns:a16="http://schemas.microsoft.com/office/drawing/2014/main" id="{88CD8E00-502F-7538-A1F0-39EA1E044CF3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2 - </a:t>
              </a:r>
              <a:endPara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1EF8FFE5-5907-5496-B745-B64BECE7E977}"/>
              </a:ext>
            </a:extLst>
          </p:cNvPr>
          <p:cNvGrpSpPr/>
          <p:nvPr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24" name="Rectangle : coins arrondis 23">
              <a:extLst>
                <a:ext uri="{FF2B5EF4-FFF2-40B4-BE49-F238E27FC236}">
                  <a16:creationId xmlns:a16="http://schemas.microsoft.com/office/drawing/2014/main" id="{F3B76B4C-186C-7251-7043-1D06DC732BB6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25" name="Organigramme : Terminateur 24">
              <a:extLst>
                <a:ext uri="{FF2B5EF4-FFF2-40B4-BE49-F238E27FC236}">
                  <a16:creationId xmlns:a16="http://schemas.microsoft.com/office/drawing/2014/main" id="{CFBF5791-6865-1B67-34A2-F861486E7027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1 - </a:t>
              </a:r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1C93B71F-EED7-8921-21A3-D95D6ECE9CA6}"/>
              </a:ext>
            </a:extLst>
          </p:cNvPr>
          <p:cNvGrpSpPr/>
          <p:nvPr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B2FE0138-E914-BA84-F36D-E65A56349E9C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29" name="Organigramme : Terminateur 28">
              <a:extLst>
                <a:ext uri="{FF2B5EF4-FFF2-40B4-BE49-F238E27FC236}">
                  <a16:creationId xmlns:a16="http://schemas.microsoft.com/office/drawing/2014/main" id="{EB0DA405-CAC3-7F81-5FC2-FE83996C1E1E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4 -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</a:p>
          </p:txBody>
        </p:sp>
      </p:grp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D3DB32B5-3B6E-10B7-3310-F64B7FDF792E}"/>
              </a:ext>
            </a:extLst>
          </p:cNvPr>
          <p:cNvSpPr txBox="1">
            <a:spLocks/>
          </p:cNvSpPr>
          <p:nvPr/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: إملاء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 : إنتاج كتابي – الحصة1 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283A038A-1CE6-3366-CE21-03AFCF3B0E34}"/>
              </a:ext>
            </a:extLst>
          </p:cNvPr>
          <p:cNvSpPr txBox="1">
            <a:spLocks/>
          </p:cNvSpPr>
          <p:nvPr/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معجم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استماع . </a:t>
            </a:r>
          </a:p>
        </p:txBody>
      </p:sp>
      <p:sp>
        <p:nvSpPr>
          <p:cNvPr id="33" name="Espace réservé du texte 25">
            <a:extLst>
              <a:ext uri="{FF2B5EF4-FFF2-40B4-BE49-F238E27FC236}">
                <a16:creationId xmlns:a16="http://schemas.microsoft.com/office/drawing/2014/main" id="{76418DE7-BE45-4F67-687C-7173A12BC205}"/>
              </a:ext>
            </a:extLst>
          </p:cNvPr>
          <p:cNvSpPr txBox="1">
            <a:spLocks/>
          </p:cNvSpPr>
          <p:nvPr/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ما قبل القراءة: التوقع والتحقق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أثناء القراءة – الفهم </a:t>
            </a:r>
          </a:p>
        </p:txBody>
      </p:sp>
      <p:sp>
        <p:nvSpPr>
          <p:cNvPr id="35" name="Espace réservé du texte 25">
            <a:extLst>
              <a:ext uri="{FF2B5EF4-FFF2-40B4-BE49-F238E27FC236}">
                <a16:creationId xmlns:a16="http://schemas.microsoft.com/office/drawing/2014/main" id="{2124341A-FD8A-B247-5B22-2126E665E6E7}"/>
              </a:ext>
            </a:extLst>
          </p:cNvPr>
          <p:cNvSpPr txBox="1">
            <a:spLocks/>
          </p:cNvSpPr>
          <p:nvPr/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أثناء القراءة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: الصرف والتحويل . 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5079097B-0A99-1CB0-EBEA-31B9395D0D9E}"/>
              </a:ext>
            </a:extLst>
          </p:cNvPr>
          <p:cNvGrpSpPr/>
          <p:nvPr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B2D46065-8D0E-634D-AB01-9E9E00BD76EE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7" name="Organigramme : Terminateur 6">
              <a:extLst>
                <a:ext uri="{FF2B5EF4-FFF2-40B4-BE49-F238E27FC236}">
                  <a16:creationId xmlns:a16="http://schemas.microsoft.com/office/drawing/2014/main" id="{98A2B6B8-F8FA-9673-EDF1-D19627C5EB3D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5 -</a:t>
              </a:r>
            </a:p>
          </p:txBody>
        </p:sp>
      </p:grpSp>
      <p:sp>
        <p:nvSpPr>
          <p:cNvPr id="8" name="Espace réservé du texte 25">
            <a:extLst>
              <a:ext uri="{FF2B5EF4-FFF2-40B4-BE49-F238E27FC236}">
                <a16:creationId xmlns:a16="http://schemas.microsoft.com/office/drawing/2014/main" id="{926E90FA-F14C-9F4A-98BC-D16FCB3374DB}"/>
              </a:ext>
            </a:extLst>
          </p:cNvPr>
          <p:cNvSpPr txBox="1">
            <a:spLocks/>
          </p:cNvSpPr>
          <p:nvPr/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(1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ما بعد القراءة : تقويم المقروء(3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 : إنتاج كتابي الحصة 5 (30د)</a:t>
            </a:r>
          </a:p>
        </p:txBody>
      </p:sp>
      <p:pic>
        <p:nvPicPr>
          <p:cNvPr id="9" name="Image 8" descr="Une image contenant Rectangle, conception&#10;&#10;Le contenu généré par l’IA peut être incorrect.">
            <a:extLst>
              <a:ext uri="{FF2B5EF4-FFF2-40B4-BE49-F238E27FC236}">
                <a16:creationId xmlns:a16="http://schemas.microsoft.com/office/drawing/2014/main" id="{A0E94C9D-3B1A-E91F-2886-A675D2652D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7229" y="4993276"/>
            <a:ext cx="3831420" cy="1362012"/>
          </a:xfrm>
          <a:prstGeom prst="rect">
            <a:avLst/>
          </a:prstGeom>
        </p:spPr>
      </p:pic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4D9DF42C-2E6C-AFED-8BA6-712202FF5AE1}"/>
              </a:ext>
            </a:extLst>
          </p:cNvPr>
          <p:cNvSpPr txBox="1">
            <a:spLocks/>
          </p:cNvSpPr>
          <p:nvPr/>
        </p:nvSpPr>
        <p:spPr>
          <a:xfrm>
            <a:off x="757652" y="5462453"/>
            <a:ext cx="3420000" cy="792000"/>
          </a:xfrm>
          <a:prstGeom prst="roundRect">
            <a:avLst/>
          </a:prstGeom>
          <a:noFill/>
        </p:spPr>
        <p:txBody>
          <a:bodyPr anchor="ctr"/>
          <a:lstStyle>
            <a:lvl1pPr marL="269875" indent="-2698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  <a:sym typeface="Wingdings" panose="05000000000000000000" pitchFamily="2" charset="2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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  <a:sym typeface="Wingdings" panose="05000000000000000000" pitchFamily="2" charset="2"/>
              </a:rPr>
              <a:t>نشاط اعتيادي (10د)</a:t>
            </a:r>
          </a:p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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  <a:sym typeface="Wingdings" panose="05000000000000000000" pitchFamily="2" charset="2"/>
              </a:rPr>
              <a:t>مراجعة توليف (شكل وفهم) (40د)</a:t>
            </a:r>
          </a:p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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  <a:sym typeface="Wingdings" panose="05000000000000000000" pitchFamily="2" charset="2"/>
              </a:rPr>
              <a:t>القراءة الاثرائية : الحصة 1 (20د)</a:t>
            </a:r>
          </a:p>
        </p:txBody>
      </p:sp>
      <p:sp>
        <p:nvSpPr>
          <p:cNvPr id="21" name="Organigramme : Terminateur 20">
            <a:extLst>
              <a:ext uri="{FF2B5EF4-FFF2-40B4-BE49-F238E27FC236}">
                <a16:creationId xmlns:a16="http://schemas.microsoft.com/office/drawing/2014/main" id="{A8E485C4-9162-3BC2-8830-67C22886D5F7}"/>
              </a:ext>
            </a:extLst>
          </p:cNvPr>
          <p:cNvSpPr/>
          <p:nvPr/>
        </p:nvSpPr>
        <p:spPr>
          <a:xfrm>
            <a:off x="2917910" y="4993276"/>
            <a:ext cx="1260000" cy="360000"/>
          </a:xfrm>
          <a:prstGeom prst="flowChartTerminator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يوم</a:t>
            </a: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6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6238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2" fill="hold" grpId="0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42F730-3CC8-4026-E162-97F7DB4F3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7">
            <a:extLst>
              <a:ext uri="{FF2B5EF4-FFF2-40B4-BE49-F238E27FC236}">
                <a16:creationId xmlns:a16="http://schemas.microsoft.com/office/drawing/2014/main" id="{DBED1190-5BF5-DAF9-8D61-86DEACEFA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رأ؟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6226730-2D5C-416E-B326-8FD6F55E559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CDE5367-3372-8E95-31C8-E70620E2BEC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4540F4B-6DDF-9F3A-EC01-A93D2AAFB5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745CC98-E58E-5890-F708-474AC62FB89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C812A13-7289-DC6F-230B-9E6EB5B9251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D518C1-9A46-3D69-542C-9361445592A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9F2016-DF29-E0C3-5020-FD1C3A016A7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D53B95-B6D4-EAC0-DA25-1552E6F46AF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id="{3F9EBD33-2B5A-A1D5-CD62-03D9A804922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1091;p42">
            <a:extLst>
              <a:ext uri="{FF2B5EF4-FFF2-40B4-BE49-F238E27FC236}">
                <a16:creationId xmlns:a16="http://schemas.microsoft.com/office/drawing/2014/main" id="{346CAF9C-90DB-ACA2-257A-D2AB2B91C825}"/>
              </a:ext>
            </a:extLst>
          </p:cNvPr>
          <p:cNvSpPr/>
          <p:nvPr/>
        </p:nvSpPr>
        <p:spPr>
          <a:xfrm>
            <a:off x="1619621" y="3289110"/>
            <a:ext cx="5369766" cy="769401"/>
          </a:xfrm>
          <a:prstGeom prst="roundRect">
            <a:avLst>
              <a:gd name="adj" fmla="val 50000"/>
            </a:avLst>
          </a:prstGeom>
          <a:solidFill>
            <a:srgbClr val="DDEAF6"/>
          </a:solidFill>
          <a:ln w="12700" cap="flat" cmpd="sng">
            <a:solidFill>
              <a:srgbClr val="1C305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>
              <a:buClr>
                <a:srgbClr val="000000"/>
              </a:buClr>
              <a:buFont typeface="Arial"/>
              <a:buNone/>
              <a:defRPr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092;p42">
            <a:extLst>
              <a:ext uri="{FF2B5EF4-FFF2-40B4-BE49-F238E27FC236}">
                <a16:creationId xmlns:a16="http://schemas.microsoft.com/office/drawing/2014/main" id="{47DECB72-40A2-8831-0169-109B6530A5B0}"/>
              </a:ext>
            </a:extLst>
          </p:cNvPr>
          <p:cNvSpPr/>
          <p:nvPr/>
        </p:nvSpPr>
        <p:spPr>
          <a:xfrm>
            <a:off x="1619621" y="4618423"/>
            <a:ext cx="5369766" cy="839374"/>
          </a:xfrm>
          <a:prstGeom prst="roundRect">
            <a:avLst>
              <a:gd name="adj" fmla="val 50000"/>
            </a:avLst>
          </a:prstGeom>
          <a:solidFill>
            <a:srgbClr val="DDEAF6"/>
          </a:solidFill>
          <a:ln w="12700" cap="flat" cmpd="sng">
            <a:solidFill>
              <a:srgbClr val="1C305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>
              <a:buClr>
                <a:srgbClr val="000000"/>
              </a:buClr>
              <a:buFont typeface="Arial"/>
              <a:buNone/>
              <a:defRPr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3" name="Google Shape;1098;p42">
            <a:extLst>
              <a:ext uri="{FF2B5EF4-FFF2-40B4-BE49-F238E27FC236}">
                <a16:creationId xmlns:a16="http://schemas.microsoft.com/office/drawing/2014/main" id="{9AD2C70A-4FBA-F827-C3BE-06D249C1CA3B}"/>
              </a:ext>
            </a:extLst>
          </p:cNvPr>
          <p:cNvGrpSpPr/>
          <p:nvPr/>
        </p:nvGrpSpPr>
        <p:grpSpPr>
          <a:xfrm>
            <a:off x="1630898" y="1969762"/>
            <a:ext cx="5750607" cy="851308"/>
            <a:chOff x="1619621" y="1983862"/>
            <a:chExt cx="5750607" cy="851308"/>
          </a:xfrm>
        </p:grpSpPr>
        <p:sp>
          <p:nvSpPr>
            <p:cNvPr id="15" name="Google Shape;1099;p42">
              <a:extLst>
                <a:ext uri="{FF2B5EF4-FFF2-40B4-BE49-F238E27FC236}">
                  <a16:creationId xmlns:a16="http://schemas.microsoft.com/office/drawing/2014/main" id="{7E14C863-C0F5-392F-F285-BAA8E0E160C9}"/>
                </a:ext>
              </a:extLst>
            </p:cNvPr>
            <p:cNvSpPr/>
            <p:nvPr/>
          </p:nvSpPr>
          <p:spPr>
            <a:xfrm>
              <a:off x="1619621" y="1983862"/>
              <a:ext cx="5369766" cy="840813"/>
            </a:xfrm>
            <a:prstGeom prst="roundRect">
              <a:avLst>
                <a:gd name="adj" fmla="val 50000"/>
              </a:avLst>
            </a:prstGeom>
            <a:solidFill>
              <a:srgbClr val="DDEAF6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  <a:defRPr/>
              </a:pPr>
              <a:endParaRPr sz="4400" kern="0">
                <a:solidFill>
                  <a:srgbClr val="424D7C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100;p42">
              <a:extLst>
                <a:ext uri="{FF2B5EF4-FFF2-40B4-BE49-F238E27FC236}">
                  <a16:creationId xmlns:a16="http://schemas.microsoft.com/office/drawing/2014/main" id="{9B4BA521-BFCF-9C45-A3C0-5BEFC4ABF169}"/>
                </a:ext>
              </a:extLst>
            </p:cNvPr>
            <p:cNvSpPr txBox="1"/>
            <p:nvPr/>
          </p:nvSpPr>
          <p:spPr>
            <a:xfrm flipH="1">
              <a:off x="2460114" y="2065769"/>
              <a:ext cx="4075544" cy="7694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 defTabSz="914400" rtl="1">
                <a:buClr>
                  <a:srgbClr val="000000"/>
                </a:buClr>
                <a:buFont typeface="Arial"/>
                <a:buNone/>
                <a:defRPr/>
              </a:pPr>
              <a:r>
                <a:rPr lang="ar-MA" sz="4400" b="1" dirty="0">
                  <a:solidFill>
                    <a:srgbClr val="424D7C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  <a:sym typeface="Calibri"/>
                </a:rPr>
                <a:t>اَلْعُنْوانُ</a:t>
              </a:r>
              <a:r>
                <a:rPr lang="ar-MA" sz="4400" b="1" kern="0" dirty="0">
                  <a:solidFill>
                    <a:srgbClr val="424D7C"/>
                  </a:solidFill>
                  <a:ea typeface="Calibri"/>
                  <a:cs typeface="Calibri"/>
                  <a:sym typeface="Calibri"/>
                </a:rPr>
                <a:t>  </a:t>
              </a:r>
              <a:endParaRPr sz="4400" b="1" kern="0" dirty="0">
                <a:solidFill>
                  <a:srgbClr val="424D7C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101;p42">
              <a:extLst>
                <a:ext uri="{FF2B5EF4-FFF2-40B4-BE49-F238E27FC236}">
                  <a16:creationId xmlns:a16="http://schemas.microsoft.com/office/drawing/2014/main" id="{C956B548-4A82-F7E0-444A-4C5078638600}"/>
                </a:ext>
              </a:extLst>
            </p:cNvPr>
            <p:cNvSpPr/>
            <p:nvPr/>
          </p:nvSpPr>
          <p:spPr>
            <a:xfrm>
              <a:off x="6790756" y="2127610"/>
              <a:ext cx="579472" cy="579472"/>
            </a:xfrm>
            <a:prstGeom prst="ellipse">
              <a:avLst/>
            </a:prstGeom>
            <a:solidFill>
              <a:srgbClr val="10658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  <a:defRPr/>
              </a:pPr>
              <a:r>
                <a:rPr lang="ar-MA" sz="3200" kern="0" dirty="0">
                  <a:solidFill>
                    <a:schemeClr val="bg1"/>
                  </a:solidFill>
                  <a:ea typeface="Calibri"/>
                  <a:cs typeface="Calibri"/>
                  <a:sym typeface="Calibri"/>
                </a:rPr>
                <a:t>1</a:t>
              </a:r>
              <a:endParaRPr sz="3200" kern="0" dirty="0">
                <a:solidFill>
                  <a:schemeClr val="bg1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" name="Google Shape;1102;p42">
            <a:extLst>
              <a:ext uri="{FF2B5EF4-FFF2-40B4-BE49-F238E27FC236}">
                <a16:creationId xmlns:a16="http://schemas.microsoft.com/office/drawing/2014/main" id="{E68993B9-471E-D348-1967-96C7FFDE3B95}"/>
              </a:ext>
            </a:extLst>
          </p:cNvPr>
          <p:cNvSpPr/>
          <p:nvPr/>
        </p:nvSpPr>
        <p:spPr>
          <a:xfrm>
            <a:off x="6802033" y="3306432"/>
            <a:ext cx="579472" cy="579472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>
              <a:buClr>
                <a:srgbClr val="000000"/>
              </a:buClr>
              <a:buFont typeface="Arial"/>
              <a:buNone/>
              <a:defRPr/>
            </a:pPr>
            <a:r>
              <a:rPr lang="ar-MA" sz="3200" kern="0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2</a:t>
            </a:r>
            <a:endParaRPr kern="0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1103;p42">
            <a:extLst>
              <a:ext uri="{FF2B5EF4-FFF2-40B4-BE49-F238E27FC236}">
                <a16:creationId xmlns:a16="http://schemas.microsoft.com/office/drawing/2014/main" id="{8CB88BD8-9FBD-1E54-4F3C-7A875563862A}"/>
              </a:ext>
            </a:extLst>
          </p:cNvPr>
          <p:cNvSpPr/>
          <p:nvPr/>
        </p:nvSpPr>
        <p:spPr>
          <a:xfrm>
            <a:off x="6840865" y="4731685"/>
            <a:ext cx="579472" cy="579472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>
              <a:buClr>
                <a:srgbClr val="000000"/>
              </a:buClr>
              <a:buFont typeface="Arial"/>
              <a:buNone/>
              <a:defRPr/>
            </a:pPr>
            <a:r>
              <a:rPr lang="ar-MA" sz="3200" kern="0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3</a:t>
            </a:r>
            <a:endParaRPr kern="0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1105;p42">
            <a:extLst>
              <a:ext uri="{FF2B5EF4-FFF2-40B4-BE49-F238E27FC236}">
                <a16:creationId xmlns:a16="http://schemas.microsoft.com/office/drawing/2014/main" id="{D5253772-3695-43A1-14F3-CF911A8C695F}"/>
              </a:ext>
            </a:extLst>
          </p:cNvPr>
          <p:cNvSpPr txBox="1"/>
          <p:nvPr/>
        </p:nvSpPr>
        <p:spPr>
          <a:xfrm flipH="1">
            <a:off x="2460114" y="3370487"/>
            <a:ext cx="4075544" cy="76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 defTabSz="914400" rtl="1">
              <a:buClr>
                <a:srgbClr val="106585"/>
              </a:buClr>
              <a:buSzPts val="2400"/>
              <a:buFont typeface="Calibri"/>
              <a:buNone/>
              <a:defRPr/>
            </a:pPr>
            <a:r>
              <a:rPr lang="ar-MA" sz="44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  <a:sym typeface="Calibri"/>
              </a:rPr>
              <a:t>اَلْمُؤَلِّفُ</a:t>
            </a:r>
            <a:endParaRPr sz="44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22" name="Google Shape;1108;p42">
            <a:extLst>
              <a:ext uri="{FF2B5EF4-FFF2-40B4-BE49-F238E27FC236}">
                <a16:creationId xmlns:a16="http://schemas.microsoft.com/office/drawing/2014/main" id="{0B42D3CA-4EA7-D768-0236-90470E239C00}"/>
              </a:ext>
            </a:extLst>
          </p:cNvPr>
          <p:cNvSpPr txBox="1"/>
          <p:nvPr/>
        </p:nvSpPr>
        <p:spPr>
          <a:xfrm flipH="1">
            <a:off x="2205360" y="4688396"/>
            <a:ext cx="4075544" cy="76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 defTabSz="914400" rtl="1">
              <a:buClr>
                <a:srgbClr val="106585"/>
              </a:buClr>
              <a:buSzPts val="2400"/>
              <a:buFont typeface="Calibri"/>
              <a:buNone/>
              <a:defRPr/>
            </a:pPr>
            <a:r>
              <a:rPr lang="ar-MA" sz="44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  <a:sym typeface="Calibri"/>
              </a:rPr>
              <a:t>تاريخُ</a:t>
            </a:r>
            <a:r>
              <a:rPr lang="ar-MA" sz="4400" b="1" kern="0" dirty="0">
                <a:solidFill>
                  <a:srgbClr val="424D7C"/>
                </a:solidFill>
                <a:ea typeface="Calibri"/>
                <a:cs typeface="Calibri"/>
                <a:sym typeface="Calibri"/>
              </a:rPr>
              <a:t> </a:t>
            </a:r>
            <a:r>
              <a:rPr lang="ar-MA" sz="44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  <a:sym typeface="Calibri"/>
              </a:rPr>
              <a:t>ٱلنَّشْر</a:t>
            </a:r>
            <a:r>
              <a:rPr lang="ar-MA" sz="4400" b="1" kern="0" dirty="0">
                <a:solidFill>
                  <a:srgbClr val="424D7C"/>
                </a:solidFill>
                <a:ea typeface="Calibri"/>
                <a:cs typeface="Calibri"/>
                <a:sym typeface="Calibri"/>
              </a:rPr>
              <a:t> </a:t>
            </a:r>
            <a:r>
              <a:rPr lang="ar-MA" sz="44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  <a:sym typeface="Calibri"/>
              </a:rPr>
              <a:t>والنّاشِر</a:t>
            </a:r>
            <a:endParaRPr sz="44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43509"/>
      </p:ext>
    </p:extLst>
  </p:cSld>
  <p:clrMapOvr>
    <a:masterClrMapping/>
  </p:clrMapOvr>
  <p:transition spd="slow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321BF-D3B1-C4E9-DEEA-D4F137D1C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24E72F0-BF50-F88B-C115-8F70EC311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ا هي عناصر القصة التي يمكنكم استخراجها من الصفحة؟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FB72827-BA54-79E4-A5C2-388BB2CD7D0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7C6512E-710E-5151-6869-BE647470B15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3807C46-971D-7141-97C1-097B8BC763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F54CB1D-394F-98DD-DEE6-23F19E064B5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9D8D5DA-0640-4654-C02C-0AF7F708C82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3FA71D-973F-FD42-B1F3-CD49C534513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184C5E-19EC-AE5C-F271-F88D1B23454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F1BBC0-006A-22A6-F4F5-E2D1BAD5074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7">
            <a:extLst>
              <a:ext uri="{FF2B5EF4-FFF2-40B4-BE49-F238E27FC236}">
                <a16:creationId xmlns:a16="http://schemas.microsoft.com/office/drawing/2014/main" id="{714B3821-5C5A-F26B-71C2-6CA7E614150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146576B-AE69-FF02-0C81-10F3D273A6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6593" y="1584325"/>
            <a:ext cx="4366638" cy="493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963154"/>
      </p:ext>
    </p:extLst>
  </p:cSld>
  <p:clrMapOvr>
    <a:masterClrMapping/>
  </p:clrMapOvr>
  <p:transition spd="slow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3B710-E63A-1F4D-2EFA-2C32DCEB4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9CC3AA6-BB7F-AC93-3BB5-4F856454F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نتبهوا معي ، ما هي توقعاتكم لمضمون القصة. سأسجل بعضها على السبورة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D89FAEF-E8B9-266E-5655-069657C35B5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709802A-1C8B-0766-9F75-F93BC3D0D01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D8C6570-7AAB-1B91-EE7C-346AD1DD32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62D58BA-7F0F-3E22-0AF9-813B6BD39A7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965533E-D8DA-9E9D-2B7E-2C9A40D9E30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5F45AE-ECDF-E106-83F8-B6195AEC14C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AF9B7C-B7C9-98F0-2066-B99529C89A5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59FFB5-3C8E-F401-8C2C-2A131D87C7F7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4">
            <a:extLst>
              <a:ext uri="{FF2B5EF4-FFF2-40B4-BE49-F238E27FC236}">
                <a16:creationId xmlns:a16="http://schemas.microsoft.com/office/drawing/2014/main" id="{6E9D575C-E515-8E16-85DE-7D9E3002682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298A467-04ED-8C60-ABEA-2517C60CFD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43733" y="1600332"/>
            <a:ext cx="4055138" cy="1034940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46CF6BF-9EAA-1A35-0D11-E8FF7C88D8D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2401" r="11838" b="4019"/>
          <a:stretch/>
        </p:blipFill>
        <p:spPr>
          <a:xfrm>
            <a:off x="4311393" y="3031761"/>
            <a:ext cx="3873077" cy="2555926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9D4B288-D22A-CBCB-0F7E-B007C22756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071" y="2779688"/>
            <a:ext cx="3769568" cy="3191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842098"/>
      </p:ext>
    </p:extLst>
  </p:cSld>
  <p:clrMapOvr>
    <a:masterClrMapping/>
  </p:clrMapOvr>
  <p:transition spd="slow"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515AD5-8729-DC16-107B-8444F5EA9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8355EFB-1820-E2F8-61D5-ACA210BE7AD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7232E65-7D55-2A30-914D-C416215C38B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0DFB653-690C-8324-290B-720530CB1B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2FD1CBEF-5515-8797-FBA2-DD6124ACDD8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0947DC1-F995-F5B0-68B0-CF368380588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8EA24D-8DA9-5211-8183-524AED00ED5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8D06DB-A4A8-81F2-5E1E-5AE2B2CD782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23D0CC-B683-3A2B-B6D6-AD2E2C8CEC1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4">
            <a:extLst>
              <a:ext uri="{FF2B5EF4-FFF2-40B4-BE49-F238E27FC236}">
                <a16:creationId xmlns:a16="http://schemas.microsoft.com/office/drawing/2014/main" id="{C437917C-58A8-CF51-571E-8365E77AA4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14" name="Titre 13">
            <a:extLst>
              <a:ext uri="{FF2B5EF4-FFF2-40B4-BE49-F238E27FC236}">
                <a16:creationId xmlns:a16="http://schemas.microsoft.com/office/drawing/2014/main" id="{FD487F66-9141-5679-E61C-17D9C1DD9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نتبهوا معي ، سأقرأ عليكم الجزء الأول من القصة لتتأكدوا من توقعاتكم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5647F94-5842-1632-4625-86A2536017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83714" y="1494042"/>
            <a:ext cx="6128129" cy="477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02960"/>
      </p:ext>
    </p:extLst>
  </p:cSld>
  <p:clrMapOvr>
    <a:masterClrMapping/>
  </p:clrMapOvr>
  <p:transition spd="slow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A5065-78D3-D9A3-91BC-19DDC1AEA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FC26B642-A449-D85B-9D5E-FA9BF1973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ابع القراء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C4F9104-883F-D9AB-10B3-4CF8957741F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BD61717-4C6E-4110-DAF0-E6C30117A34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D665DBE-AE5F-D61C-43E9-53F8F209D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35D33A4-219E-75F2-763A-A0F89CC96BA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58B4ED-0DF7-08CC-600B-93050E41AC0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553DC9-5B39-D7F0-DA49-5EFC50F0968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047AAD-E97B-52ED-6874-3B4AA1BC22D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963A25-5C96-1BAD-CC1B-44BCA6B0175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42592B4B-F745-85F5-2772-CBA036F64E8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ABF92D7-11BB-4A9A-ED01-BA0A1EBCC2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4331" y="1584325"/>
            <a:ext cx="6723946" cy="484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577491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6631B4-3080-D9C4-1B20-6754E61EE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1F4D6C2-8E58-A960-B750-4D0517C28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ابع القراء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F5A55BC-3334-01BC-E3CD-6770956ECC4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BE02D00-5A6A-7DC8-CAEE-441656B9404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FCC5E1B-BD92-B640-B8E4-CD1C10C018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82D6E43-DA25-2746-5105-283B4EB94D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F4CC1B6-E164-BADC-6464-D225B86C25A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165951-2DBB-7E0F-CB54-0E4AE1CA3CD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75CB43-57D0-9263-F804-41B7B48014B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B7F808-43CA-A956-4C2C-1136598627F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4" name="Espace réservé pour une image  17">
            <a:extLst>
              <a:ext uri="{FF2B5EF4-FFF2-40B4-BE49-F238E27FC236}">
                <a16:creationId xmlns:a16="http://schemas.microsoft.com/office/drawing/2014/main" id="{955CD2C9-F49C-3F49-6205-96B82E947BE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045C8A3-1447-B897-8043-3F0B1E7E53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95288" y="2892155"/>
            <a:ext cx="6779568" cy="2784929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4E338AF-8D28-0AE5-A2E5-14D66FD4A5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1102" y="1392640"/>
            <a:ext cx="1866457" cy="167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934929"/>
      </p:ext>
    </p:extLst>
  </p:cSld>
  <p:clrMapOvr>
    <a:masterClrMapping/>
  </p:clrMapOvr>
  <p:transition spd="slow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452BB7-D75D-9635-8D33-A72C2F14C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0D25596-15CD-806F-0DC8-BA65B8E74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قرؤوا الجزء الأول . ثم قوموا بتعبئة جذاذة القراء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849454C-D2A4-7389-2859-53CC6FD781D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A223759-D5AD-1087-6B3B-9B49BC23A82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656FCC2-E75C-1D5A-263C-10A61B6F93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293A3A2-A542-9389-CF5A-02A66F4BBA4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AEB1B14-350E-A9B5-0673-B449FF6D332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DFA4F8-9C5F-D1E7-6799-19C205C1A4E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C7D40E-2EA2-A235-B41C-DFC53BC4836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A14649-9B04-D148-71AD-3170D98514D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pic>
        <p:nvPicPr>
          <p:cNvPr id="16" name="Espace réservé pour une image  14">
            <a:extLst>
              <a:ext uri="{FF2B5EF4-FFF2-40B4-BE49-F238E27FC236}">
                <a16:creationId xmlns:a16="http://schemas.microsoft.com/office/drawing/2014/main" id="{F20ED09A-8FA8-74C5-FBA7-13839279B74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302207B-A032-A764-0F37-E8C713458D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95205" y="1368000"/>
            <a:ext cx="4944978" cy="526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21906"/>
      </p:ext>
    </p:extLst>
  </p:cSld>
  <p:clrMapOvr>
    <a:masterClrMapping/>
  </p:clrMapOvr>
  <p:transition spd="slow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8EDF94-2568-787F-4620-57B3D1798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F901092-835D-2D74-D9C7-7BF1EEB9A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جلوا جذاذة القراءة التالية  على دفاتركم  وقوموا بتعبئتها. سنعود للنص كلما دعت الضرور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3224EE7-7E22-6CF2-DDEA-FBC229ADA3F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588B80A-12F4-EC09-285C-14EBC9A2436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D1147D4-71B0-6CC6-5808-6FC40694B4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713096B-EBAB-3128-AE15-3F180479110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3F631F3-C280-30FB-02AE-3DDD116F340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B3E25B-AF7B-09EB-3F12-304CC1FC8EBB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AE83533-25E4-5FD1-BAD2-9F5FC6B835A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3C0633-A138-907F-B4CF-513515112A1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قراءة الإثرائية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7EDD7579-FB56-4152-CB50-D94E05C9E4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740750"/>
              </p:ext>
            </p:extLst>
          </p:nvPr>
        </p:nvGraphicFramePr>
        <p:xfrm>
          <a:off x="511686" y="1839326"/>
          <a:ext cx="8120628" cy="4649582"/>
        </p:xfrm>
        <a:graphic>
          <a:graphicData uri="http://schemas.openxmlformats.org/drawingml/2006/table">
            <a:tbl>
              <a:tblPr firstRow="1" firstCol="1" bandRow="1"/>
              <a:tblGrid>
                <a:gridCol w="5819061">
                  <a:extLst>
                    <a:ext uri="{9D8B030D-6E8A-4147-A177-3AD203B41FA5}">
                      <a16:colId xmlns:a16="http://schemas.microsoft.com/office/drawing/2014/main" val="955859640"/>
                    </a:ext>
                  </a:extLst>
                </a:gridCol>
                <a:gridCol w="2301567">
                  <a:extLst>
                    <a:ext uri="{9D8B030D-6E8A-4147-A177-3AD203B41FA5}">
                      <a16:colId xmlns:a16="http://schemas.microsoft.com/office/drawing/2014/main" val="2781370982"/>
                    </a:ext>
                  </a:extLst>
                </a:gridCol>
              </a:tblGrid>
              <a:tr h="415363">
                <a:tc gridSpan="2"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ُنْوان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قِصَّةِ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: .............................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M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924" marR="37924" marT="0" marB="0" anchor="ctr"/>
                </a:tc>
                <a:extLst>
                  <a:ext uri="{0D108BD9-81ED-4DB2-BD59-A6C34878D82A}">
                    <a16:rowId xmlns:a16="http://schemas.microsoft.com/office/drawing/2014/main" val="553819832"/>
                  </a:ext>
                </a:extLst>
              </a:tr>
              <a:tr h="415363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 صفحات </a:t>
                      </a:r>
                      <a:endParaRPr lang="fr-MA" sz="24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َلْجُزْء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أول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702333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B9BD5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أ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َ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ف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كار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ُ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</a:t>
                      </a:r>
                      <a:r>
                        <a:rPr lang="ar-S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ج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ُ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ز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ء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ِ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090607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B9BD5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َعْلوماتٌ جَديدَةٌ وَتَعابيرُ جَميلَةٌ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686766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B9BD5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ُلَخَّص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جُزْءِ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021215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B9BD5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ُعْجَمي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جَديدُ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641313"/>
                  </a:ext>
                </a:extLst>
              </a:tr>
            </a:tbl>
          </a:graphicData>
        </a:graphic>
      </p:graphicFrame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id="{85BD2348-C37B-8BB2-0BBE-D4D994AD14D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96089"/>
      </p:ext>
    </p:extLst>
  </p:cSld>
  <p:clrMapOvr>
    <a:masterClrMapping/>
  </p:clrMapOvr>
  <p:transition spd="slow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4FDA06-B23A-D621-423D-643242FEC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3">
            <a:extLst>
              <a:ext uri="{FF2B5EF4-FFF2-40B4-BE49-F238E27FC236}">
                <a16:creationId xmlns:a16="http://schemas.microsoft.com/office/drawing/2014/main" id="{B892232F-2C5A-0A9D-2250-6AC8C408FF79}"/>
              </a:ext>
            </a:extLst>
          </p:cNvPr>
          <p:cNvSpPr txBox="1">
            <a:spLocks/>
          </p:cNvSpPr>
          <p:nvPr/>
        </p:nvSpPr>
        <p:spPr>
          <a:xfrm>
            <a:off x="637196" y="1472652"/>
            <a:ext cx="7886700" cy="720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اختتام الحصة</a:t>
            </a:r>
            <a:endParaRPr kumimoji="0" lang="fr-MA" sz="44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03101C6-BF6B-2F71-435A-2D0B8F5394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7804" y="1616652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10" name="Image 9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F5EEABF2-E7F5-5D49-6EB5-4C3D95BF8C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96" y="2743200"/>
            <a:ext cx="7542707" cy="2498148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348532D9-994E-68F4-EFE1-BB90C48A129A}"/>
              </a:ext>
            </a:extLst>
          </p:cNvPr>
          <p:cNvSpPr txBox="1"/>
          <p:nvPr/>
        </p:nvSpPr>
        <p:spPr>
          <a:xfrm>
            <a:off x="2578720" y="3040837"/>
            <a:ext cx="4750904" cy="604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تام الحصة</a:t>
            </a:r>
            <a:endParaRPr kumimoji="0" lang="fr-MA" sz="36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91938188"/>
      </p:ext>
    </p:extLst>
  </p:cSld>
  <p:clrMapOvr>
    <a:masterClrMapping/>
  </p:clrMapOvr>
  <p:transition spd="slow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48DED5-079E-7F2B-944E-27A712227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ar-MA" sz="2000" b="1" i="0" u="none" strike="noStrike" kern="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Microsoft Uighur" panose="02000000000000000000" pitchFamily="2" charset="-78"/>
                <a:ea typeface="Arial"/>
                <a:cs typeface="Microsoft Uighur" panose="02000000000000000000" pitchFamily="2" charset="-78"/>
                <a:sym typeface="Arial"/>
              </a:rPr>
              <a:t>الفائزون بنجمة السلوك الجيد هم : ............................................</a:t>
            </a:r>
            <a:endParaRPr lang="fr-MA" dirty="0"/>
          </a:p>
        </p:txBody>
      </p:sp>
      <p:pic>
        <p:nvPicPr>
          <p:cNvPr id="5" name="Joyful_Prize_Celebration_Animation">
            <a:hlinkClick r:id="" action="ppaction://media"/>
            <a:extLst>
              <a:ext uri="{FF2B5EF4-FFF2-40B4-BE49-F238E27FC236}">
                <a16:creationId xmlns:a16="http://schemas.microsoft.com/office/drawing/2014/main" id="{F1620410-F112-6210-3B13-37323E514AC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22027" r="21803"/>
          <a:stretch>
            <a:fillRect/>
          </a:stretch>
        </p:blipFill>
        <p:spPr>
          <a:xfrm>
            <a:off x="2835612" y="2166095"/>
            <a:ext cx="3472775" cy="34777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6CCD1E32-B90D-9F23-2CF6-D326B08922AD}"/>
              </a:ext>
            </a:extLst>
          </p:cNvPr>
          <p:cNvGrpSpPr/>
          <p:nvPr/>
        </p:nvGrpSpPr>
        <p:grpSpPr>
          <a:xfrm>
            <a:off x="552763" y="126524"/>
            <a:ext cx="7558419" cy="303157"/>
            <a:chOff x="552763" y="126524"/>
            <a:chExt cx="7558419" cy="30315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B61723C-711F-444C-8827-9168222DDBEE}"/>
                </a:ext>
              </a:extLst>
            </p:cNvPr>
            <p:cNvSpPr>
              <a:spLocks/>
            </p:cNvSpPr>
            <p:nvPr/>
          </p:nvSpPr>
          <p:spPr>
            <a:xfrm>
              <a:off x="552763" y="141681"/>
              <a:ext cx="1260000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ختــتام الحــصة</a:t>
              </a:r>
            </a:p>
          </p:txBody>
        </p:sp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B5AB42F0-5787-9DD4-941E-25F5CCE04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33113" y="136455"/>
              <a:ext cx="278069" cy="27806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CAC74EC2-667B-4EBB-8937-C7C8543FD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67689" y="136455"/>
              <a:ext cx="278069" cy="27806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5ED5E5DF-4943-BCE9-EFEF-159F005C44B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83309" y="136455"/>
              <a:ext cx="278069" cy="27806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E41237CE-11F0-AD69-2DA8-7E2D78A39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859439" y="126524"/>
              <a:ext cx="278069" cy="278069"/>
            </a:xfrm>
            <a:prstGeom prst="rect">
              <a:avLst/>
            </a:prstGeom>
            <a:ln>
              <a:noFill/>
            </a:ln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D1A87B3-9A03-06F7-F1EB-189CAF501E2A}"/>
                </a:ext>
              </a:extLst>
            </p:cNvPr>
            <p:cNvSpPr>
              <a:spLocks/>
            </p:cNvSpPr>
            <p:nvPr/>
          </p:nvSpPr>
          <p:spPr>
            <a:xfrm>
              <a:off x="6573113" y="141681"/>
              <a:ext cx="1260000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>
                      <a:alpha val="20000"/>
                    </a:srgbClr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فتتاح</a:t>
              </a: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>
                      <a:alpha val="20000"/>
                    </a:srgbClr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حصة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CF211772-8209-8B71-363D-F38CE163DB1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ورشة القراء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6AF5F6-D8E7-C229-1FF4-EF10C6A04066}"/>
              </a:ext>
            </a:extLst>
          </p:cNvPr>
          <p:cNvSpPr>
            <a:spLocks/>
          </p:cNvSpPr>
          <p:nvPr/>
        </p:nvSpPr>
        <p:spPr>
          <a:xfrm>
            <a:off x="2870775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ورشة الكتابة </a:t>
            </a:r>
          </a:p>
        </p:txBody>
      </p:sp>
      <p:pic>
        <p:nvPicPr>
          <p:cNvPr id="15" name="Espace réservé pour une image  2">
            <a:extLst>
              <a:ext uri="{FF2B5EF4-FFF2-40B4-BE49-F238E27FC236}">
                <a16:creationId xmlns:a16="http://schemas.microsoft.com/office/drawing/2014/main" id="{007B8FE2-12AC-25F1-3378-E7DADC3BF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8890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80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B27C7B-9C9C-C699-A54F-7855EA5BB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5B8846B-83EA-E264-E37E-D695E8254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17" y="789099"/>
            <a:ext cx="7886700" cy="720000"/>
          </a:xfrm>
        </p:spPr>
        <p:txBody>
          <a:bodyPr/>
          <a:lstStyle/>
          <a:p>
            <a:r>
              <a:rPr lang="ar-MA" sz="4000" dirty="0"/>
              <a:t>هيكلة حصة اليوم</a:t>
            </a:r>
            <a:endParaRPr lang="fr-MA" sz="4000" dirty="0">
              <a:solidFill>
                <a:srgbClr val="424D7A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0" name="Image 19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71FA64D6-2488-E89C-59ED-6D025853D9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614" y="1977543"/>
            <a:ext cx="5488778" cy="1415180"/>
          </a:xfrm>
          <a:prstGeom prst="rect">
            <a:avLst/>
          </a:prstGeom>
        </p:spPr>
      </p:pic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E1DEF7F-397F-C4D0-C5EC-85EFF585D32C}"/>
              </a:ext>
            </a:extLst>
          </p:cNvPr>
          <p:cNvSpPr txBox="1">
            <a:spLocks/>
          </p:cNvSpPr>
          <p:nvPr/>
        </p:nvSpPr>
        <p:spPr>
          <a:xfrm>
            <a:off x="2122822" y="247793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ar-MA" sz="1600" b="1" dirty="0">
                <a:cs typeface="Microsoft Uighur" panose="02000000000000000000" pitchFamily="2" charset="-78"/>
              </a:rPr>
              <a:t>تقويم مستوى التحكم .</a:t>
            </a:r>
            <a:endParaRPr kumimoji="0" lang="ar-MA" sz="1200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Semi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ECB4FE8-F88A-0FF3-B3EE-1C21ACDAA97D}"/>
              </a:ext>
            </a:extLst>
          </p:cNvPr>
          <p:cNvSpPr txBox="1"/>
          <p:nvPr/>
        </p:nvSpPr>
        <p:spPr>
          <a:xfrm>
            <a:off x="5532851" y="2122576"/>
            <a:ext cx="11063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 01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رائز التحقق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8033E18-0BF8-0A23-3475-6EDAB678A6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9908" y="2189639"/>
            <a:ext cx="544953" cy="540000"/>
          </a:xfrm>
          <a:prstGeom prst="rect">
            <a:avLst/>
          </a:prstGeom>
        </p:spPr>
      </p:pic>
      <p:pic>
        <p:nvPicPr>
          <p:cNvPr id="23" name="Espace réservé pour une image  20">
            <a:extLst>
              <a:ext uri="{FF2B5EF4-FFF2-40B4-BE49-F238E27FC236}">
                <a16:creationId xmlns:a16="http://schemas.microsoft.com/office/drawing/2014/main" id="{DB7EDC81-5010-F21C-8657-F278D00C5C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1721372" y="1983250"/>
            <a:ext cx="468000" cy="468000"/>
          </a:xfrm>
          <a:prstGeom prst="rect">
            <a:avLst/>
          </a:prstGeom>
        </p:spPr>
      </p:pic>
      <p:pic>
        <p:nvPicPr>
          <p:cNvPr id="2" name="Image 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FB81E251-DEE6-2737-C7C1-6AEADF15F1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392" y="3243576"/>
            <a:ext cx="5472000" cy="1405870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A8417B3C-ED6C-3E31-483B-4AA47805F93E}"/>
              </a:ext>
            </a:extLst>
          </p:cNvPr>
          <p:cNvSpPr txBox="1">
            <a:spLocks/>
          </p:cNvSpPr>
          <p:nvPr/>
        </p:nvSpPr>
        <p:spPr>
          <a:xfrm>
            <a:off x="2102784" y="3743967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أنشطة المعالجة و الدعم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F9B7FF1-551C-6B3E-88C4-2711FAE3DD72}"/>
              </a:ext>
            </a:extLst>
          </p:cNvPr>
          <p:cNvSpPr txBox="1"/>
          <p:nvPr/>
        </p:nvSpPr>
        <p:spPr>
          <a:xfrm>
            <a:off x="5360400" y="3380220"/>
            <a:ext cx="12474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r" rtl="1"/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16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F8F49AE-464A-582F-C030-A17BF030BC3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737733" y="3430505"/>
            <a:ext cx="536339" cy="540000"/>
          </a:xfrm>
          <a:prstGeom prst="rect">
            <a:avLst/>
          </a:prstGeom>
        </p:spPr>
      </p:pic>
      <p:pic>
        <p:nvPicPr>
          <p:cNvPr id="12" name="Image 1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527705E2-A70D-8FDD-59FC-42FB5B08AD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392" y="4525100"/>
            <a:ext cx="5525521" cy="1405870"/>
          </a:xfrm>
          <a:prstGeom prst="rect">
            <a:avLst/>
          </a:prstGeom>
        </p:spPr>
      </p:pic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D6485E13-3F45-F80C-515F-11D586D2820C}"/>
              </a:ext>
            </a:extLst>
          </p:cNvPr>
          <p:cNvSpPr txBox="1">
            <a:spLocks/>
          </p:cNvSpPr>
          <p:nvPr/>
        </p:nvSpPr>
        <p:spPr>
          <a:xfrm>
            <a:off x="2160599" y="501710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rtl="1">
              <a:buClr>
                <a:srgbClr val="424D7B"/>
              </a:buClr>
            </a:pPr>
            <a:r>
              <a:rPr lang="ar-MA" sz="1600" b="1" dirty="0">
                <a:cs typeface="Microsoft Uighur" panose="02000000000000000000" pitchFamily="2" charset="-78"/>
              </a:rPr>
              <a:t>الجار الخائن - الحصة 1 –  الجزء الأول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1A969E0-85FC-2E62-B385-F693C62C91A3}"/>
              </a:ext>
            </a:extLst>
          </p:cNvPr>
          <p:cNvSpPr txBox="1"/>
          <p:nvPr/>
        </p:nvSpPr>
        <p:spPr>
          <a:xfrm>
            <a:off x="4086808" y="4692778"/>
            <a:ext cx="25159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rtl="1"/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- 03</a:t>
            </a:r>
            <a:r>
              <a:rPr lang="ar-MA" sz="16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87621C-7824-79B5-1BD7-1B109EA19CE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821519" y="4712029"/>
            <a:ext cx="536339" cy="540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4E13E4F-FEEF-513E-9F28-9B16562044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609" y="3257576"/>
            <a:ext cx="416607" cy="479596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1218B99-B833-F24A-A26D-67ECE574EC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5872" y="4501082"/>
            <a:ext cx="394738" cy="4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9022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4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3" grpId="0"/>
      <p:bldP spid="5" grpId="0"/>
      <p:bldP spid="13" grpId="0"/>
      <p:bldP spid="15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E8E94-55AD-263E-48C3-ABC7565644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1715AF14-1EF2-15C2-E76B-FA03D66C7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</p:spPr>
        <p:txBody>
          <a:bodyPr>
            <a:normAutofit/>
          </a:bodyPr>
          <a:lstStyle/>
          <a:p>
            <a:pPr rtl="0"/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ى اللقاء في الحصة المقبلة </a:t>
            </a:r>
            <a:endParaRPr lang="fr-FR" sz="2400" dirty="0"/>
          </a:p>
        </p:txBody>
      </p:sp>
      <p:pic>
        <p:nvPicPr>
          <p:cNvPr id="7" name="اختتام الحصة5_1">
            <a:hlinkClick r:id="" action="ppaction://media"/>
            <a:extLst>
              <a:ext uri="{FF2B5EF4-FFF2-40B4-BE49-F238E27FC236}">
                <a16:creationId xmlns:a16="http://schemas.microsoft.com/office/drawing/2014/main" id="{07E2D7E6-3EAF-0006-7B3B-1B980B35FB2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71663" y="2439988"/>
            <a:ext cx="5400675" cy="3038475"/>
          </a:xfrm>
          <a:prstGeom prst="rect">
            <a:avLst/>
          </a:prstGeom>
        </p:spPr>
      </p:pic>
      <p:pic>
        <p:nvPicPr>
          <p:cNvPr id="8" name="Image 7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8EF55583-AF08-C2B5-6383-6599C8ED69E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32373" y="6241000"/>
            <a:ext cx="540000" cy="540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8F0BDE9-0EC3-9916-A553-24DB8DE75091}"/>
              </a:ext>
            </a:extLst>
          </p:cNvPr>
          <p:cNvSpPr>
            <a:spLocks/>
          </p:cNvSpPr>
          <p:nvPr/>
        </p:nvSpPr>
        <p:spPr>
          <a:xfrm>
            <a:off x="552763" y="14168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EF8BCE8-EA6A-9762-D3D4-0D7C0FBBE3C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33113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78230D68-39E9-FC1D-554B-FC0A0544774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7689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4A90079-1A78-288F-4002-5299F3E596F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83309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C02F445-B0FE-347A-456A-D3964F0ED6A4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59439" y="126524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7B17518-65D9-092A-F4CA-7C3D3BED9D39}"/>
              </a:ext>
            </a:extLst>
          </p:cNvPr>
          <p:cNvSpPr>
            <a:spLocks/>
          </p:cNvSpPr>
          <p:nvPr/>
        </p:nvSpPr>
        <p:spPr>
          <a:xfrm>
            <a:off x="4738133" y="166631"/>
            <a:ext cx="1327846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قراءة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1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55F57C-4BE8-5214-94BE-2C1D92F2CE5F}"/>
              </a:ext>
            </a:extLst>
          </p:cNvPr>
          <p:cNvSpPr>
            <a:spLocks/>
          </p:cNvSpPr>
          <p:nvPr/>
        </p:nvSpPr>
        <p:spPr>
          <a:xfrm>
            <a:off x="2638374" y="126524"/>
            <a:ext cx="134408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قراءة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2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965166-E611-AD54-4B78-8BC9EC51B60A}"/>
              </a:ext>
            </a:extLst>
          </p:cNvPr>
          <p:cNvSpPr>
            <a:spLocks/>
          </p:cNvSpPr>
          <p:nvPr/>
        </p:nvSpPr>
        <p:spPr>
          <a:xfrm>
            <a:off x="6573113" y="14168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حص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C05F5E7-A446-A764-A157-6DDA0013F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992" y="690243"/>
            <a:ext cx="847392" cy="8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176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3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5B4AE278-DF46-4A21-C1D7-E90EB0C3EB7B}"/>
              </a:ext>
            </a:extLst>
          </p:cNvPr>
          <p:cNvSpPr txBox="1"/>
          <p:nvPr/>
        </p:nvSpPr>
        <p:spPr>
          <a:xfrm>
            <a:off x="1681258" y="140194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MA"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بناء على إنجازات المتعلمين خلال الممارسة المستقلة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47C1E3-1B7F-A87E-8B36-0B2CCD4ED51E}"/>
              </a:ext>
            </a:extLst>
          </p:cNvPr>
          <p:cNvSpPr txBox="1"/>
          <p:nvPr/>
        </p:nvSpPr>
        <p:spPr>
          <a:xfrm>
            <a:off x="1749352" y="402546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سجل النسبة على صفحة اليوم من مذكرة الأستاذ.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04FFAC5B-3A94-CF60-E0F3-FB44EA96AD01}"/>
              </a:ext>
            </a:extLst>
          </p:cNvPr>
          <p:cNvGrpSpPr/>
          <p:nvPr/>
        </p:nvGrpSpPr>
        <p:grpSpPr>
          <a:xfrm>
            <a:off x="1292094" y="2839748"/>
            <a:ext cx="6696000" cy="890781"/>
            <a:chOff x="1331545" y="2851205"/>
            <a:chExt cx="6696000" cy="890781"/>
          </a:xfrm>
        </p:grpSpPr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D29A9D9E-DA16-02EB-A182-E2D45A811C09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50F678-FB89-B61B-431D-D2EE915D0630}"/>
                </a:ext>
              </a:extLst>
            </p:cNvPr>
            <p:cNvSpPr/>
            <p:nvPr/>
          </p:nvSpPr>
          <p:spPr>
            <a:xfrm>
              <a:off x="1438551" y="3070709"/>
              <a:ext cx="489625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ما تقديرك لنسبة التحكم في هدف الدرس؟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3925132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3">
            <a:extLst>
              <a:ext uri="{FF2B5EF4-FFF2-40B4-BE49-F238E27FC236}">
                <a16:creationId xmlns:a16="http://schemas.microsoft.com/office/drawing/2014/main" id="{42490E3E-A192-1F3F-4FCD-31D5461DE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7" y="1343766"/>
            <a:ext cx="7886700" cy="720000"/>
          </a:xfrm>
        </p:spPr>
        <p:txBody>
          <a:bodyPr/>
          <a:lstStyle/>
          <a:p>
            <a:r>
              <a:rPr lang="ar-AE" sz="4000" dirty="0"/>
              <a:t>  ا</a:t>
            </a:r>
            <a:r>
              <a:rPr lang="ar-MA" sz="4400" dirty="0">
                <a:solidFill>
                  <a:srgbClr val="424D7B"/>
                </a:solidFill>
                <a:latin typeface="Dosis ExtraBold" pitchFamily="2" charset="0"/>
                <a:cs typeface="Microsoft Uighur" panose="02000000000000000000" pitchFamily="2" charset="-78"/>
              </a:rPr>
              <a:t>فتتاح</a:t>
            </a:r>
            <a:r>
              <a:rPr lang="ar-MA" sz="4000" dirty="0"/>
              <a:t> </a:t>
            </a:r>
            <a:r>
              <a:rPr lang="ar-MA" sz="4400" dirty="0">
                <a:solidFill>
                  <a:srgbClr val="424D7B"/>
                </a:solidFill>
                <a:latin typeface="Dosis ExtraBold" pitchFamily="2" charset="0"/>
                <a:cs typeface="Microsoft Uighur" panose="02000000000000000000" pitchFamily="2" charset="-78"/>
              </a:rPr>
              <a:t>الحصة</a:t>
            </a:r>
            <a:endParaRPr lang="fr-MA" sz="4400" dirty="0">
              <a:solidFill>
                <a:srgbClr val="424D7B"/>
              </a:solidFill>
              <a:latin typeface="Dosis ExtraBold" pitchFamily="2" charset="0"/>
              <a:cs typeface="Microsoft Uighur" panose="02000000000000000000" pitchFamily="2" charset="-78"/>
            </a:endParaRP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6210EB0F-9A2D-91D9-A1C7-9D1606A2C8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50872" y="1562109"/>
            <a:ext cx="360000" cy="360000"/>
          </a:xfrm>
          <a:prstGeom prst="rect">
            <a:avLst/>
          </a:prstGeom>
          <a:ln>
            <a:noFill/>
          </a:ln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195069AB-4D64-4F48-DF3D-5D51357577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7053" y="2361254"/>
            <a:ext cx="7789894" cy="2776230"/>
          </a:xfrm>
          <a:prstGeom prst="rect">
            <a:avLst/>
          </a:prstGeom>
        </p:spPr>
      </p:pic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D6FAA037-4AB3-CA39-790F-44BD0952952D}"/>
              </a:ext>
            </a:extLst>
          </p:cNvPr>
          <p:cNvSpPr txBox="1">
            <a:spLocks/>
          </p:cNvSpPr>
          <p:nvPr/>
        </p:nvSpPr>
        <p:spPr>
          <a:xfrm>
            <a:off x="2165590" y="3406523"/>
            <a:ext cx="4500000" cy="102289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ترحيب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تدبير السلوك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lang="ar-MA" sz="2800" b="1" dirty="0">
                <a:cs typeface="Microsoft Uighur" panose="02000000000000000000" pitchFamily="2" charset="-78"/>
              </a:rPr>
              <a:t>رائز التحقق</a:t>
            </a:r>
            <a:endParaRPr kumimoji="0" lang="ar-MA" sz="2800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Semi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7D6550F-9DEC-8087-2526-912B5A010A60}"/>
              </a:ext>
            </a:extLst>
          </p:cNvPr>
          <p:cNvSpPr txBox="1"/>
          <p:nvPr/>
        </p:nvSpPr>
        <p:spPr>
          <a:xfrm>
            <a:off x="5790710" y="2223045"/>
            <a:ext cx="13805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</a:t>
            </a: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فتتاح الحصة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37C6F37A-6590-0F81-D8D7-762927830B9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2911" y="2415862"/>
            <a:ext cx="726603" cy="720000"/>
          </a:xfrm>
          <a:prstGeom prst="rect">
            <a:avLst/>
          </a:prstGeom>
        </p:spPr>
      </p:pic>
      <p:pic>
        <p:nvPicPr>
          <p:cNvPr id="32" name="Espace réservé pour une image  20">
            <a:extLst>
              <a:ext uri="{FF2B5EF4-FFF2-40B4-BE49-F238E27FC236}">
                <a16:creationId xmlns:a16="http://schemas.microsoft.com/office/drawing/2014/main" id="{A30AECEB-C2EF-3DB3-46FB-E9ED6FF8C73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895743" y="222674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95645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28971-125A-CB14-DBFF-07A72BEBE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A0AA1F6B-6FA8-D786-AE56-67295470D136}"/>
              </a:ext>
            </a:extLst>
          </p:cNvPr>
          <p:cNvSpPr/>
          <p:nvPr/>
        </p:nvSpPr>
        <p:spPr>
          <a:xfrm>
            <a:off x="-613787" y="173516"/>
            <a:ext cx="32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03C05D6-14A2-6FD8-01ED-9C29BB69B23F}"/>
              </a:ext>
            </a:extLst>
          </p:cNvPr>
          <p:cNvSpPr/>
          <p:nvPr/>
        </p:nvSpPr>
        <p:spPr>
          <a:xfrm>
            <a:off x="-613787" y="584942"/>
            <a:ext cx="324000" cy="324000"/>
          </a:xfrm>
          <a:prstGeom prst="rect">
            <a:avLst/>
          </a:prstGeom>
          <a:solidFill>
            <a:srgbClr val="0097B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CFA785B4-FE81-5515-1D56-7273EF2E0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rtl="0"/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رحبا بكم ، سنبدأ  حصة اللغة العربية.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DA5BFA-3D52-19C3-BFD2-9274B9783F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5FB852-170A-2F86-5B1E-D0F394434C1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2A8FF37-7DFD-A9D2-E63D-26D75F184A5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5BF889F9-0E4A-0115-7C8B-AE73EA9D9AF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55F1B4B-88C8-FABD-D1FB-4B16B79791E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1DC97F4-53D7-A57D-C05B-CA19DFA71EE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1F517A-4A94-1577-0E2B-98BDB7FFF25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66F0B6-248A-C19F-1864-4745B76AFCF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5" name="Espace réservé pour une image  10">
            <a:extLst>
              <a:ext uri="{FF2B5EF4-FFF2-40B4-BE49-F238E27FC236}">
                <a16:creationId xmlns:a16="http://schemas.microsoft.com/office/drawing/2014/main" id="{AAE4AB6F-2CA5-90BE-C174-3F8C64AA70A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371" r="-17371"/>
          <a:stretch>
            <a:fillRect/>
          </a:stretch>
        </p:blipFill>
        <p:spPr>
          <a:xfrm>
            <a:off x="1871663" y="2160588"/>
            <a:ext cx="5400675" cy="3598862"/>
          </a:xfrm>
          <a:prstGeom prst="roundRect">
            <a:avLst>
              <a:gd name="adj" fmla="val 11828"/>
            </a:avLst>
          </a:prstGeom>
        </p:spPr>
      </p:pic>
      <p:pic>
        <p:nvPicPr>
          <p:cNvPr id="7" name="Espace réservé pour une image  12">
            <a:extLst>
              <a:ext uri="{FF2B5EF4-FFF2-40B4-BE49-F238E27FC236}">
                <a16:creationId xmlns:a16="http://schemas.microsoft.com/office/drawing/2014/main" id="{A1FD29BC-12C1-8FBE-54D5-06FAB4952CF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899314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6BE0A0-1C6F-2433-25E1-7CEE475A8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91BB657D-7000-B32D-37A1-E1F4A3898C00}"/>
              </a:ext>
            </a:extLst>
          </p:cNvPr>
          <p:cNvSpPr/>
          <p:nvPr/>
        </p:nvSpPr>
        <p:spPr>
          <a:xfrm>
            <a:off x="-613787" y="173516"/>
            <a:ext cx="32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2D0C2B2-1D72-18FA-66F4-34749723F280}"/>
              </a:ext>
            </a:extLst>
          </p:cNvPr>
          <p:cNvSpPr/>
          <p:nvPr/>
        </p:nvSpPr>
        <p:spPr>
          <a:xfrm>
            <a:off x="-613787" y="584942"/>
            <a:ext cx="324000" cy="324000"/>
          </a:xfrm>
          <a:prstGeom prst="rect">
            <a:avLst/>
          </a:prstGeom>
          <a:solidFill>
            <a:srgbClr val="0097B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600501CB-E4AD-FE5B-E859-AF283A3F3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rtl="0"/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في هذه ال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حصة سنحدد الفائز بنجمة السلوك لهذا الأسبوع؛ 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ذكرنا بالسلوكات التي علينا التحلي بها للفوز؟  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53247FC-E67B-CFBE-1870-95940D01A4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17EB0DE-F85E-B4A8-827E-ADB495B7FDF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FA3247C1-581B-4332-B68A-EAA7D15156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55B7A088-93A5-DD43-B56E-2EE521A2AC5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ACA672D3-B006-7FD4-CE1B-061F85D3B17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915063C-8C24-E48E-5327-1BAB14B209F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706A3ED-1F46-2296-CE9C-7A9353ED3D1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95FAAB-0B84-86E6-F6AD-7245298F8A17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9" name="Espace réservé pour une image  12">
            <a:extLst>
              <a:ext uri="{FF2B5EF4-FFF2-40B4-BE49-F238E27FC236}">
                <a16:creationId xmlns:a16="http://schemas.microsoft.com/office/drawing/2014/main" id="{A87AF1DA-276F-974B-5F82-C3CB7592FD9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826EF7D0-C660-D523-E7CD-F1C5888D35CD}"/>
              </a:ext>
            </a:extLst>
          </p:cNvPr>
          <p:cNvSpPr/>
          <p:nvPr/>
        </p:nvSpPr>
        <p:spPr>
          <a:xfrm>
            <a:off x="6543341" y="2042887"/>
            <a:ext cx="1177296" cy="1215113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76200" cap="flat" cmpd="sng" algn="ctr">
            <a:solidFill>
              <a:srgbClr val="48B2D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MA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4" name="Image 3" descr="Une image contenant dessin humoristique, jouet, Anim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7A650EF-D32B-98F2-7EC6-79AE952DF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734" y="2042887"/>
            <a:ext cx="1177296" cy="1151948"/>
          </a:xfrm>
          <a:prstGeom prst="ellipse">
            <a:avLst/>
          </a:prstGeom>
          <a:ln w="63500" cap="rnd">
            <a:solidFill>
              <a:srgbClr val="48B2DC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Image 6" descr="Une image contenant dessin humoristique, Animation, Dessin animé, clipart&#10;&#10;Le contenu généré par l’IA peut être incorrect.">
            <a:extLst>
              <a:ext uri="{FF2B5EF4-FFF2-40B4-BE49-F238E27FC236}">
                <a16:creationId xmlns:a16="http://schemas.microsoft.com/office/drawing/2014/main" id="{42A8FE98-4202-AC0D-500E-E499190165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556" y="3727386"/>
            <a:ext cx="1177296" cy="1151947"/>
          </a:xfrm>
          <a:prstGeom prst="ellipse">
            <a:avLst/>
          </a:prstGeom>
          <a:ln w="63500" cap="rnd">
            <a:solidFill>
              <a:srgbClr val="48B2DC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5448291-6BEF-BA46-11AB-6995DB2E1D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845" y="2074426"/>
            <a:ext cx="1132322" cy="1080000"/>
          </a:xfrm>
          <a:prstGeom prst="ellipse">
            <a:avLst/>
          </a:prstGeom>
          <a:ln w="63500" cap="rnd">
            <a:solidFill>
              <a:srgbClr val="48B2DC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Image 13" descr="Une image contenant dessin humoristique, Dessin animé, Animation, clipart&#10;&#10;Le contenu généré par l’IA peut être incorrect.">
            <a:extLst>
              <a:ext uri="{FF2B5EF4-FFF2-40B4-BE49-F238E27FC236}">
                <a16:creationId xmlns:a16="http://schemas.microsoft.com/office/drawing/2014/main" id="{2165E20D-729E-B951-7BB1-6CDD9512454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904" y="2035752"/>
            <a:ext cx="1177296" cy="1151948"/>
          </a:xfrm>
          <a:prstGeom prst="ellipse">
            <a:avLst/>
          </a:prstGeom>
          <a:ln w="63500" cap="rnd">
            <a:solidFill>
              <a:srgbClr val="48B2DC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Image 14" descr="Une image contenant Animation, dessin humoristique, Dessin animé, illustration&#10;&#10;Le contenu généré par l’IA peut être incorrect.">
            <a:extLst>
              <a:ext uri="{FF2B5EF4-FFF2-40B4-BE49-F238E27FC236}">
                <a16:creationId xmlns:a16="http://schemas.microsoft.com/office/drawing/2014/main" id="{EB90C71A-DF15-4C1C-0D2F-0961B11904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393" y="3694592"/>
            <a:ext cx="1208052" cy="1184741"/>
          </a:xfrm>
          <a:prstGeom prst="ellipse">
            <a:avLst/>
          </a:prstGeom>
          <a:ln w="63500" cap="rnd">
            <a:solidFill>
              <a:srgbClr val="48B2DC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69744379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D470B-FA26-6AE1-8738-C686AAA82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>
            <a:extLst>
              <a:ext uri="{FF2B5EF4-FFF2-40B4-BE49-F238E27FC236}">
                <a16:creationId xmlns:a16="http://schemas.microsoft.com/office/drawing/2014/main" id="{57D1160E-6BA9-CC18-311F-F714FA7A3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ضعوا اللوحة على الطاولة ، الكراسة والدفتر والمقلمة في القمطر</a:t>
            </a:r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62BECC5-219E-563C-DFB8-453F9AF0B5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B48124EC-A359-A4BD-0424-9ED0D4AC12B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DE1477D1-AB3C-EFF9-3FF3-ABCB6B3F826E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0F9B7BC-3B06-A4D7-29EF-357614253B71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F675F0F-141F-6405-E8C0-3EF13F2D58F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D145C29-7ED0-3881-76EB-8E9A1B4A6ED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D8999A-52B5-0BDE-3801-D31730DB8CA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5CB0F56-033C-2600-01F1-089E3DC3797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37" name="Espace réservé pour une image  4">
            <a:extLst>
              <a:ext uri="{FF2B5EF4-FFF2-40B4-BE49-F238E27FC236}">
                <a16:creationId xmlns:a16="http://schemas.microsoft.com/office/drawing/2014/main" id="{216546B4-85A1-E099-31EF-369926AD97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" r="88"/>
          <a:stretch>
            <a:fillRect/>
          </a:stretch>
        </p:blipFill>
        <p:spPr>
          <a:xfrm>
            <a:off x="7907338" y="650875"/>
            <a:ext cx="898525" cy="900113"/>
          </a:xfrm>
          <a:prstGeom prst="rect">
            <a:avLst/>
          </a:prstGeom>
        </p:spPr>
      </p:pic>
      <p:pic>
        <p:nvPicPr>
          <p:cNvPr id="2" name="Class AR_NV_05_1">
            <a:hlinkClick r:id="" action="ppaction://media"/>
            <a:extLst>
              <a:ext uri="{FF2B5EF4-FFF2-40B4-BE49-F238E27FC236}">
                <a16:creationId xmlns:a16="http://schemas.microsoft.com/office/drawing/2014/main" id="{292D0FB5-D540-BFD0-F6AC-FE864E8B850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052513" y="2160588"/>
            <a:ext cx="7038975" cy="395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5231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10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2_05- افتتاح الحصة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05- اختتام الحصة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8188</TotalTime>
  <Words>1189</Words>
  <Application>Microsoft Office PowerPoint</Application>
  <PresentationFormat>Affichage à l'écran (4:3)</PresentationFormat>
  <Paragraphs>326</Paragraphs>
  <Slides>51</Slides>
  <Notes>0</Notes>
  <HiddenSlides>0</HiddenSlides>
  <MMClips>3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1</vt:i4>
      </vt:variant>
    </vt:vector>
  </HeadingPairs>
  <TitlesOfParts>
    <vt:vector size="75" baseType="lpstr">
      <vt:lpstr>Microsoft Uighur</vt:lpstr>
      <vt:lpstr>Sakkal Majalla</vt:lpstr>
      <vt:lpstr>Dosis ExtraBold</vt:lpstr>
      <vt:lpstr>Wingdings</vt:lpstr>
      <vt:lpstr>Calibri</vt:lpstr>
      <vt:lpstr>Dosis SemiBold</vt:lpstr>
      <vt:lpstr>Modern Love</vt:lpstr>
      <vt:lpstr>Arial</vt:lpstr>
      <vt:lpstr>Calibri Light</vt:lpstr>
      <vt:lpstr>Dosis</vt:lpstr>
      <vt:lpstr>Dosis Medium</vt:lpstr>
      <vt:lpstr>3_Simple Light</vt:lpstr>
      <vt:lpstr>1_Thème Office</vt:lpstr>
      <vt:lpstr>01- نشاط اعتيادي</vt:lpstr>
      <vt:lpstr>2_Thème Office</vt:lpstr>
      <vt:lpstr>3_Env-Enseignant</vt:lpstr>
      <vt:lpstr>3_Thème Office</vt:lpstr>
      <vt:lpstr>1_01- نشاط اعتيادي</vt:lpstr>
      <vt:lpstr>1_Env-Enseignant</vt:lpstr>
      <vt:lpstr>3_01- نشاط اعتيادي</vt:lpstr>
      <vt:lpstr>2_05- افتتاح الحصة</vt:lpstr>
      <vt:lpstr>2_01- نشاط اعتيادي</vt:lpstr>
      <vt:lpstr>2_05- اختتام الحصة</vt:lpstr>
      <vt:lpstr>think-cell Slide</vt:lpstr>
      <vt:lpstr>Présentation PowerPoint</vt:lpstr>
      <vt:lpstr>Présentation PowerPoint</vt:lpstr>
      <vt:lpstr>Présentation PowerPoint</vt:lpstr>
      <vt:lpstr>تنظيم حصص الأسبوع الأول</vt:lpstr>
      <vt:lpstr>هيكلة حصة اليوم</vt:lpstr>
      <vt:lpstr>  افتتاح الحصة</vt:lpstr>
      <vt:lpstr>مرحبا بكم ، سنبدأ  حصة اللغة العربية.</vt:lpstr>
      <vt:lpstr>في هذه الحصة سنحدد الفائز بنجمة السلوك لهذا الأسبوع؛  من يذكرنا بالسلوكات التي علينا التحلي بها للفوز؟  </vt:lpstr>
      <vt:lpstr>ضعوا اللوحة على الطاولة ، الكراسة والدفتر والمقلمة في القمطر</vt:lpstr>
      <vt:lpstr>خدوا كراساتكم . الصفحة 76. سأتحقق من درجة تحكمكم في استراتيجية الكلمات المفاتيح.</vt:lpstr>
      <vt:lpstr>على ألواحكم أجيبوا عن الأسئلة التالية من خلال النص. سأسجل نسب التحكم</vt:lpstr>
      <vt:lpstr>السؤال الأول.  اقرأ النص جيدا ورتب أرقام الأحداث التالية ترتيبا زمنيا منطقيا. دقيقتان للإجابة</vt:lpstr>
      <vt:lpstr>صححوا.</vt:lpstr>
      <vt:lpstr>السؤال الثاني.  معكم دقيقتان للإجابة. </vt:lpstr>
      <vt:lpstr>صححوا. </vt:lpstr>
      <vt:lpstr>عند نهاية رائز التحقق</vt:lpstr>
      <vt:lpstr>مراجعة وتوليف </vt:lpstr>
      <vt:lpstr>خدوا كراساتكم . سننجز أنشطة المراجعة و التوليف الواردة على  الصفحتين 76 و 77</vt:lpstr>
      <vt:lpstr>اِقرؤوا النص التالي: « رحلة في الصحراء" قراءة صامتة ؛لتتمكنوا من ضبط جمل بالشكل التام  و الإجابة عن أسئلة. </vt:lpstr>
      <vt:lpstr>النشاط الأول:  اضبطوا كلمات الفقرة بالشكل التام. تكتب الفقرة على السبورة ( يمكن الاكتفاء بجمل فقط حسب ما يقتضيه مستوى المتعلمين)</vt:lpstr>
      <vt:lpstr>سأمر بين الصفوف لمساعدتكم</vt:lpstr>
      <vt:lpstr>من يصحح .</vt:lpstr>
      <vt:lpstr>صححوا أخطاءكم.</vt:lpstr>
      <vt:lpstr>نواصل : اِقرؤوا النص التالي: « رحلة في الصحراء" قراءة صامتة ؛ بعد ذلك تجيبون عن أسئلة المعجم  و الفهم لديكم 15 دقيقة للإنجاز.</vt:lpstr>
      <vt:lpstr>سأمر بين الصفوف لتقديم المساعدة.</vt:lpstr>
      <vt:lpstr>نصحح الان. من يجيب عن أسئلة المعجم؟</vt:lpstr>
      <vt:lpstr>صححوا</vt:lpstr>
      <vt:lpstr>نواصل تصحيح أسئلة الفهم  من يقرأ جوابه. كيف تمكنتم من الإجابة؟</vt:lpstr>
      <vt:lpstr>صححوا</vt:lpstr>
      <vt:lpstr>صححوا.</vt:lpstr>
      <vt:lpstr>دائما على كراساتكم الصفحة 47 أنجزوا الأنشطة التالية</vt:lpstr>
      <vt:lpstr>سأمر بيم الصفوف لمساعدتكم.</vt:lpstr>
      <vt:lpstr>من يقدم لنا جوابه عن السؤال الخامس.</vt:lpstr>
      <vt:lpstr>من يقرأ؟ من يقترح حملا أخرى؟</vt:lpstr>
      <vt:lpstr>من يقدم لنا جوابه عن السؤال السادس. </vt:lpstr>
      <vt:lpstr>صححوا.</vt:lpstr>
      <vt:lpstr>ورشة القراءة – القراءة الاثرائية</vt:lpstr>
      <vt:lpstr>هيكلة حصة اليوم</vt:lpstr>
      <vt:lpstr>اليوم سنواصل قراءة قصة جديدة. من يذكرنا بالعناصر التي تساعدنا على التعرف على القصة؟ </vt:lpstr>
      <vt:lpstr>من يقرأ؟</vt:lpstr>
      <vt:lpstr>ما هي عناصر القصة التي يمكنكم استخراجها من الصفحة؟ </vt:lpstr>
      <vt:lpstr>انتبهوا معي ، ما هي توقعاتكم لمضمون القصة. سأسجل بعضها على السبورة.</vt:lpstr>
      <vt:lpstr>انتبهوا معي ، سأقرأ عليكم الجزء الأول من القصة لتتأكدوا من توقعاتكم </vt:lpstr>
      <vt:lpstr>أتابع القراءة. </vt:lpstr>
      <vt:lpstr>أتابع القراءة. </vt:lpstr>
      <vt:lpstr>اقرؤوا الجزء الأول . ثم قوموا بتعبئة جذاذة القراءة. </vt:lpstr>
      <vt:lpstr>سجلوا جذاذة القراءة التالية  على دفاتركم  وقوموا بتعبئتها. سنعود للنص كلما دعت الضرورة. </vt:lpstr>
      <vt:lpstr>Présentation PowerPoint</vt:lpstr>
      <vt:lpstr>الفائزون بنجمة السلوك الجيد هم : ............................................</vt:lpstr>
      <vt:lpstr>إلى اللقاء في الحصة المقبلة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 HAMDOUNI BTIHAJ</dc:creator>
  <cp:lastModifiedBy>EL HAMDOUNI BTIHAJ</cp:lastModifiedBy>
  <cp:revision>160</cp:revision>
  <dcterms:created xsi:type="dcterms:W3CDTF">2023-09-20T21:35:22Z</dcterms:created>
  <dcterms:modified xsi:type="dcterms:W3CDTF">2025-12-11T14:34:08Z</dcterms:modified>
</cp:coreProperties>
</file>